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35" r:id="rId4"/>
    <p:sldMasterId id="2147483747" r:id="rId5"/>
  </p:sldMasterIdLst>
  <p:notesMasterIdLst>
    <p:notesMasterId r:id="rId11"/>
  </p:notesMasterIdLst>
  <p:handoutMasterIdLst>
    <p:handoutMasterId r:id="rId12"/>
  </p:handoutMasterIdLst>
  <p:sldIdLst>
    <p:sldId id="22033" r:id="rId6"/>
    <p:sldId id="2132737975" r:id="rId7"/>
    <p:sldId id="2132737973" r:id="rId8"/>
    <p:sldId id="2132738020" r:id="rId9"/>
    <p:sldId id="261" r:id="rId10"/>
  </p:sldIdLst>
  <p:sldSz cx="9144000" cy="5143500" type="screen16x9"/>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8536141-560B-E944-BDAA-570CB2047D9D}">
          <p14:sldIdLst>
            <p14:sldId id="22033"/>
            <p14:sldId id="2132737975"/>
            <p14:sldId id="2132737973"/>
            <p14:sldId id="2132738020"/>
            <p14:sldId id="2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ユーザー" initials="Office" lastIdx="1" clrIdx="0"/>
  <p:cmAuthor id="2" name="Microsoft Office ユーザー" initials="Office [2]" lastIdx="1" clrIdx="1"/>
  <p:cmAuthor id="3" name="宿輪 大地" initials="宿輪" lastIdx="1" clrIdx="2">
    <p:extLst>
      <p:ext uri="{19B8F6BF-5375-455C-9EA6-DF929625EA0E}">
        <p15:presenceInfo xmlns:p15="http://schemas.microsoft.com/office/powerpoint/2012/main" userId="S::daichi.shukuwa@samuraiincubate.onmicrosoft.com::63d22b7b-ddd8-47d3-a7e9-316553b41b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D9FF"/>
    <a:srgbClr val="0594FF"/>
    <a:srgbClr val="FF00FF"/>
    <a:srgbClr val="0033A0"/>
    <a:srgbClr val="C00000"/>
    <a:srgbClr val="000000"/>
    <a:srgbClr val="FF0000"/>
    <a:srgbClr val="292D78"/>
    <a:srgbClr val="1D20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45F22A-4AF6-7D4A-AF0D-2F967ACE1F26}" v="175" dt="2025-01-24T02:00:34.74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43"/>
  </p:normalViewPr>
  <p:slideViewPr>
    <p:cSldViewPr snapToGrid="0">
      <p:cViewPr varScale="1">
        <p:scale>
          <a:sx n="147" d="100"/>
          <a:sy n="147" d="100"/>
        </p:scale>
        <p:origin x="66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長縄 一輝" userId="6e752ca5-6cac-4d39-b3c0-119993377875" providerId="ADAL" clId="{4B2C10FB-3E6F-4CD3-AC5A-0C48C8DDD675}"/>
    <pc:docChg chg="undo redo custSel addSld delSld modSld sldOrd addMainMaster delMainMaster modSection">
      <pc:chgData name="長縄 一輝" userId="6e752ca5-6cac-4d39-b3c0-119993377875" providerId="ADAL" clId="{4B2C10FB-3E6F-4CD3-AC5A-0C48C8DDD675}" dt="2024-12-02T05:57:48.867" v="2418" actId="20577"/>
      <pc:docMkLst>
        <pc:docMk/>
      </pc:docMkLst>
      <pc:sldChg chg="addSp delSp modSp add del mod">
        <pc:chgData name="長縄 一輝" userId="6e752ca5-6cac-4d39-b3c0-119993377875" providerId="ADAL" clId="{4B2C10FB-3E6F-4CD3-AC5A-0C48C8DDD675}" dt="2024-11-28T05:06:32.117" v="2127" actId="47"/>
        <pc:sldMkLst>
          <pc:docMk/>
          <pc:sldMk cId="0" sldId="256"/>
        </pc:sldMkLst>
        <pc:spChg chg="add del mod">
          <ac:chgData name="長縄 一輝" userId="6e752ca5-6cac-4d39-b3c0-119993377875" providerId="ADAL" clId="{4B2C10FB-3E6F-4CD3-AC5A-0C48C8DDD675}" dt="2024-11-28T05:05:54.227" v="2123" actId="478"/>
          <ac:spMkLst>
            <pc:docMk/>
            <pc:sldMk cId="0" sldId="256"/>
            <ac:spMk id="2" creationId="{BB827EC8-D944-2CBC-37B3-B98237C70427}"/>
          </ac:spMkLst>
        </pc:spChg>
        <pc:spChg chg="add del mod">
          <ac:chgData name="長縄 一輝" userId="6e752ca5-6cac-4d39-b3c0-119993377875" providerId="ADAL" clId="{4B2C10FB-3E6F-4CD3-AC5A-0C48C8DDD675}" dt="2024-11-28T05:05:52.678" v="2122" actId="478"/>
          <ac:spMkLst>
            <pc:docMk/>
            <pc:sldMk cId="0" sldId="256"/>
            <ac:spMk id="4" creationId="{E4F1FEC0-6848-ECA6-A93A-8F6979489B95}"/>
          </ac:spMkLst>
        </pc:spChg>
        <pc:spChg chg="add del mod">
          <ac:chgData name="長縄 一輝" userId="6e752ca5-6cac-4d39-b3c0-119993377875" providerId="ADAL" clId="{4B2C10FB-3E6F-4CD3-AC5A-0C48C8DDD675}" dt="2024-11-28T05:05:57.845" v="2124" actId="478"/>
          <ac:spMkLst>
            <pc:docMk/>
            <pc:sldMk cId="0" sldId="256"/>
            <ac:spMk id="7" creationId="{F6CFBB1F-FB30-66CA-9AD1-7665FB5477F8}"/>
          </ac:spMkLst>
        </pc:spChg>
        <pc:spChg chg="add del">
          <ac:chgData name="長縄 一輝" userId="6e752ca5-6cac-4d39-b3c0-119993377875" providerId="ADAL" clId="{4B2C10FB-3E6F-4CD3-AC5A-0C48C8DDD675}" dt="2024-11-28T05:05:54.227" v="2123" actId="478"/>
          <ac:spMkLst>
            <pc:docMk/>
            <pc:sldMk cId="0" sldId="256"/>
            <ac:spMk id="45" creationId="{00000000-0000-0000-0000-000000000000}"/>
          </ac:spMkLst>
        </pc:spChg>
        <pc:spChg chg="mod">
          <ac:chgData name="長縄 一輝" userId="6e752ca5-6cac-4d39-b3c0-119993377875" providerId="ADAL" clId="{4B2C10FB-3E6F-4CD3-AC5A-0C48C8DDD675}" dt="2024-11-28T05:06:29.878" v="2126" actId="20577"/>
          <ac:spMkLst>
            <pc:docMk/>
            <pc:sldMk cId="0" sldId="256"/>
            <ac:spMk id="47" creationId="{00000000-0000-0000-0000-000000000000}"/>
          </ac:spMkLst>
        </pc:spChg>
      </pc:sldChg>
      <pc:sldChg chg="add del">
        <pc:chgData name="長縄 一輝" userId="6e752ca5-6cac-4d39-b3c0-119993377875" providerId="ADAL" clId="{4B2C10FB-3E6F-4CD3-AC5A-0C48C8DDD675}" dt="2024-11-28T04:16:10.703" v="701"/>
        <pc:sldMkLst>
          <pc:docMk/>
          <pc:sldMk cId="0" sldId="261"/>
        </pc:sldMkLst>
      </pc:sldChg>
      <pc:sldChg chg="modSp add mod ord">
        <pc:chgData name="長縄 一輝" userId="6e752ca5-6cac-4d39-b3c0-119993377875" providerId="ADAL" clId="{4B2C10FB-3E6F-4CD3-AC5A-0C48C8DDD675}" dt="2024-12-02T05:56:57.308" v="2395" actId="20577"/>
        <pc:sldMkLst>
          <pc:docMk/>
          <pc:sldMk cId="1608579290" sldId="380"/>
        </pc:sldMkLst>
        <pc:spChg chg="mod">
          <ac:chgData name="長縄 一輝" userId="6e752ca5-6cac-4d39-b3c0-119993377875" providerId="ADAL" clId="{4B2C10FB-3E6F-4CD3-AC5A-0C48C8DDD675}" dt="2024-12-02T05:56:57.308" v="2395" actId="20577"/>
          <ac:spMkLst>
            <pc:docMk/>
            <pc:sldMk cId="1608579290" sldId="380"/>
            <ac:spMk id="6" creationId="{34F4FBB7-5D55-48AC-1B56-254C8D24DDF2}"/>
          </ac:spMkLst>
        </pc:spChg>
      </pc:sldChg>
      <pc:sldChg chg="del">
        <pc:chgData name="長縄 一輝" userId="6e752ca5-6cac-4d39-b3c0-119993377875" providerId="ADAL" clId="{4B2C10FB-3E6F-4CD3-AC5A-0C48C8DDD675}" dt="2024-11-28T03:04:27.537" v="413" actId="47"/>
        <pc:sldMkLst>
          <pc:docMk/>
          <pc:sldMk cId="1340568763" sldId="22026"/>
        </pc:sldMkLst>
      </pc:sldChg>
      <pc:sldChg chg="del">
        <pc:chgData name="長縄 一輝" userId="6e752ca5-6cac-4d39-b3c0-119993377875" providerId="ADAL" clId="{4B2C10FB-3E6F-4CD3-AC5A-0C48C8DDD675}" dt="2024-12-02T05:57:06.087" v="2399" actId="47"/>
        <pc:sldMkLst>
          <pc:docMk/>
          <pc:sldMk cId="2284103579" sldId="22027"/>
        </pc:sldMkLst>
      </pc:sldChg>
      <pc:sldChg chg="del">
        <pc:chgData name="長縄 一輝" userId="6e752ca5-6cac-4d39-b3c0-119993377875" providerId="ADAL" clId="{4B2C10FB-3E6F-4CD3-AC5A-0C48C8DDD675}" dt="2024-12-02T05:57:07.656" v="2400" actId="47"/>
        <pc:sldMkLst>
          <pc:docMk/>
          <pc:sldMk cId="811795548" sldId="22028"/>
        </pc:sldMkLst>
      </pc:sldChg>
      <pc:sldChg chg="del">
        <pc:chgData name="長縄 一輝" userId="6e752ca5-6cac-4d39-b3c0-119993377875" providerId="ADAL" clId="{4B2C10FB-3E6F-4CD3-AC5A-0C48C8DDD675}" dt="2024-11-28T03:04:59.407" v="416" actId="47"/>
        <pc:sldMkLst>
          <pc:docMk/>
          <pc:sldMk cId="4109575918" sldId="22031"/>
        </pc:sldMkLst>
      </pc:sldChg>
      <pc:sldChg chg="modSp del mod">
        <pc:chgData name="長縄 一輝" userId="6e752ca5-6cac-4d39-b3c0-119993377875" providerId="ADAL" clId="{4B2C10FB-3E6F-4CD3-AC5A-0C48C8DDD675}" dt="2024-12-02T05:57:08.335" v="2401" actId="47"/>
        <pc:sldMkLst>
          <pc:docMk/>
          <pc:sldMk cId="811244510" sldId="22032"/>
        </pc:sldMkLst>
        <pc:spChg chg="mod">
          <ac:chgData name="長縄 一輝" userId="6e752ca5-6cac-4d39-b3c0-119993377875" providerId="ADAL" clId="{4B2C10FB-3E6F-4CD3-AC5A-0C48C8DDD675}" dt="2024-11-28T05:30:27.256" v="2312" actId="20577"/>
          <ac:spMkLst>
            <pc:docMk/>
            <pc:sldMk cId="811244510" sldId="22032"/>
            <ac:spMk id="34" creationId="{28888FA7-2522-97C2-6E9C-54FA66169BF4}"/>
          </ac:spMkLst>
        </pc:spChg>
      </pc:sldChg>
      <pc:sldChg chg="modSp mod ord">
        <pc:chgData name="長縄 一輝" userId="6e752ca5-6cac-4d39-b3c0-119993377875" providerId="ADAL" clId="{4B2C10FB-3E6F-4CD3-AC5A-0C48C8DDD675}" dt="2024-12-02T05:57:13.703" v="2403"/>
        <pc:sldMkLst>
          <pc:docMk/>
          <pc:sldMk cId="179574183" sldId="22033"/>
        </pc:sldMkLst>
        <pc:spChg chg="mod">
          <ac:chgData name="長縄 一輝" userId="6e752ca5-6cac-4d39-b3c0-119993377875" providerId="ADAL" clId="{4B2C10FB-3E6F-4CD3-AC5A-0C48C8DDD675}" dt="2024-11-28T04:58:43.213" v="2083" actId="20577"/>
          <ac:spMkLst>
            <pc:docMk/>
            <pc:sldMk cId="179574183" sldId="22033"/>
            <ac:spMk id="4" creationId="{C7F9FED7-64D2-2549-E6D5-B8F3EE40230C}"/>
          </ac:spMkLst>
        </pc:spChg>
        <pc:spChg chg="mod">
          <ac:chgData name="長縄 一輝" userId="6e752ca5-6cac-4d39-b3c0-119993377875" providerId="ADAL" clId="{4B2C10FB-3E6F-4CD3-AC5A-0C48C8DDD675}" dt="2024-11-28T04:24:16.779" v="1014" actId="20577"/>
          <ac:spMkLst>
            <pc:docMk/>
            <pc:sldMk cId="179574183" sldId="22033"/>
            <ac:spMk id="8" creationId="{EEFBC867-A2BA-44ED-5509-038814CDC46D}"/>
          </ac:spMkLst>
        </pc:spChg>
      </pc:sldChg>
      <pc:sldChg chg="del">
        <pc:chgData name="長縄 一輝" userId="6e752ca5-6cac-4d39-b3c0-119993377875" providerId="ADAL" clId="{4B2C10FB-3E6F-4CD3-AC5A-0C48C8DDD675}" dt="2024-11-28T03:04:43.838" v="414" actId="47"/>
        <pc:sldMkLst>
          <pc:docMk/>
          <pc:sldMk cId="573077582" sldId="22035"/>
        </pc:sldMkLst>
      </pc:sldChg>
      <pc:sldChg chg="del ord">
        <pc:chgData name="長縄 一輝" userId="6e752ca5-6cac-4d39-b3c0-119993377875" providerId="ADAL" clId="{4B2C10FB-3E6F-4CD3-AC5A-0C48C8DDD675}" dt="2024-11-28T04:23:58.480" v="1010" actId="47"/>
        <pc:sldMkLst>
          <pc:docMk/>
          <pc:sldMk cId="3743277413" sldId="22036"/>
        </pc:sldMkLst>
      </pc:sldChg>
      <pc:sldChg chg="del">
        <pc:chgData name="長縄 一輝" userId="6e752ca5-6cac-4d39-b3c0-119993377875" providerId="ADAL" clId="{4B2C10FB-3E6F-4CD3-AC5A-0C48C8DDD675}" dt="2024-11-28T03:06:18.276" v="420" actId="47"/>
        <pc:sldMkLst>
          <pc:docMk/>
          <pc:sldMk cId="1270055162" sldId="22037"/>
        </pc:sldMkLst>
      </pc:sldChg>
      <pc:sldChg chg="del">
        <pc:chgData name="長縄 一輝" userId="6e752ca5-6cac-4d39-b3c0-119993377875" providerId="ADAL" clId="{4B2C10FB-3E6F-4CD3-AC5A-0C48C8DDD675}" dt="2024-11-28T03:06:21.668" v="421" actId="47"/>
        <pc:sldMkLst>
          <pc:docMk/>
          <pc:sldMk cId="3167768902" sldId="22038"/>
        </pc:sldMkLst>
      </pc:sldChg>
      <pc:sldChg chg="del">
        <pc:chgData name="長縄 一輝" userId="6e752ca5-6cac-4d39-b3c0-119993377875" providerId="ADAL" clId="{4B2C10FB-3E6F-4CD3-AC5A-0C48C8DDD675}" dt="2024-11-28T03:05:02.607" v="417" actId="47"/>
        <pc:sldMkLst>
          <pc:docMk/>
          <pc:sldMk cId="305187280" sldId="22039"/>
        </pc:sldMkLst>
      </pc:sldChg>
      <pc:sldChg chg="addSp delSp modSp del mod ord">
        <pc:chgData name="長縄 一輝" userId="6e752ca5-6cac-4d39-b3c0-119993377875" providerId="ADAL" clId="{4B2C10FB-3E6F-4CD3-AC5A-0C48C8DDD675}" dt="2024-12-02T05:52:41.927" v="2314" actId="47"/>
        <pc:sldMkLst>
          <pc:docMk/>
          <pc:sldMk cId="2302547238" sldId="22040"/>
        </pc:sldMkLst>
        <pc:spChg chg="add mod">
          <ac:chgData name="長縄 一輝" userId="6e752ca5-6cac-4d39-b3c0-119993377875" providerId="ADAL" clId="{4B2C10FB-3E6F-4CD3-AC5A-0C48C8DDD675}" dt="2024-11-28T04:38:35.042" v="1398" actId="571"/>
          <ac:spMkLst>
            <pc:docMk/>
            <pc:sldMk cId="2302547238" sldId="22040"/>
            <ac:spMk id="2" creationId="{F82B6655-8407-E0B8-AA69-5578AF93B192}"/>
          </ac:spMkLst>
        </pc:spChg>
        <pc:spChg chg="add del mod">
          <ac:chgData name="長縄 一輝" userId="6e752ca5-6cac-4d39-b3c0-119993377875" providerId="ADAL" clId="{4B2C10FB-3E6F-4CD3-AC5A-0C48C8DDD675}" dt="2024-11-28T05:18:16.676" v="2209" actId="478"/>
          <ac:spMkLst>
            <pc:docMk/>
            <pc:sldMk cId="2302547238" sldId="22040"/>
            <ac:spMk id="3" creationId="{81A06F1D-BFAB-08E6-D9EE-58282A4DCB42}"/>
          </ac:spMkLst>
        </pc:spChg>
        <pc:spChg chg="add mod">
          <ac:chgData name="長縄 一輝" userId="6e752ca5-6cac-4d39-b3c0-119993377875" providerId="ADAL" clId="{4B2C10FB-3E6F-4CD3-AC5A-0C48C8DDD675}" dt="2024-11-28T04:38:35.042" v="1398" actId="571"/>
          <ac:spMkLst>
            <pc:docMk/>
            <pc:sldMk cId="2302547238" sldId="22040"/>
            <ac:spMk id="3" creationId="{F92F818B-3426-41A3-2192-7EFF3B0E1438}"/>
          </ac:spMkLst>
        </pc:spChg>
        <pc:spChg chg="mod">
          <ac:chgData name="長縄 一輝" userId="6e752ca5-6cac-4d39-b3c0-119993377875" providerId="ADAL" clId="{4B2C10FB-3E6F-4CD3-AC5A-0C48C8DDD675}" dt="2024-11-28T04:32:53.134" v="1220" actId="20577"/>
          <ac:spMkLst>
            <pc:docMk/>
            <pc:sldMk cId="2302547238" sldId="22040"/>
            <ac:spMk id="4" creationId="{C7F9FED7-64D2-2549-E6D5-B8F3EE40230C}"/>
          </ac:spMkLst>
        </pc:spChg>
        <pc:spChg chg="add mod">
          <ac:chgData name="長縄 一輝" userId="6e752ca5-6cac-4d39-b3c0-119993377875" providerId="ADAL" clId="{4B2C10FB-3E6F-4CD3-AC5A-0C48C8DDD675}" dt="2024-11-28T04:39:23.438" v="1468"/>
          <ac:spMkLst>
            <pc:docMk/>
            <pc:sldMk cId="2302547238" sldId="22040"/>
            <ac:spMk id="6" creationId="{42AD9C89-549B-3FED-4E7C-0F7715635C39}"/>
          </ac:spMkLst>
        </pc:spChg>
        <pc:spChg chg="add mod">
          <ac:chgData name="長縄 一輝" userId="6e752ca5-6cac-4d39-b3c0-119993377875" providerId="ADAL" clId="{4B2C10FB-3E6F-4CD3-AC5A-0C48C8DDD675}" dt="2024-11-28T04:39:25.426" v="1470" actId="571"/>
          <ac:spMkLst>
            <pc:docMk/>
            <pc:sldMk cId="2302547238" sldId="22040"/>
            <ac:spMk id="7" creationId="{CAABA656-D030-EE87-3C73-B7388F588DA6}"/>
          </ac:spMkLst>
        </pc:spChg>
        <pc:spChg chg="mod">
          <ac:chgData name="長縄 一輝" userId="6e752ca5-6cac-4d39-b3c0-119993377875" providerId="ADAL" clId="{4B2C10FB-3E6F-4CD3-AC5A-0C48C8DDD675}" dt="2024-11-28T05:18:21.595" v="2228" actId="1036"/>
          <ac:spMkLst>
            <pc:docMk/>
            <pc:sldMk cId="2302547238" sldId="22040"/>
            <ac:spMk id="8" creationId="{AB44D12E-8F9B-F63E-A033-47BA681D4616}"/>
          </ac:spMkLst>
        </pc:spChg>
        <pc:spChg chg="add mod">
          <ac:chgData name="長縄 一輝" userId="6e752ca5-6cac-4d39-b3c0-119993377875" providerId="ADAL" clId="{4B2C10FB-3E6F-4CD3-AC5A-0C48C8DDD675}" dt="2024-11-28T05:18:34.309" v="2246" actId="1036"/>
          <ac:spMkLst>
            <pc:docMk/>
            <pc:sldMk cId="2302547238" sldId="22040"/>
            <ac:spMk id="9" creationId="{0904BCF6-90FC-E78D-C677-5F64908D08C2}"/>
          </ac:spMkLst>
        </pc:spChg>
        <pc:spChg chg="mod">
          <ac:chgData name="長縄 一輝" userId="6e752ca5-6cac-4d39-b3c0-119993377875" providerId="ADAL" clId="{4B2C10FB-3E6F-4CD3-AC5A-0C48C8DDD675}" dt="2024-11-28T05:18:21.595" v="2228" actId="1036"/>
          <ac:spMkLst>
            <pc:docMk/>
            <pc:sldMk cId="2302547238" sldId="22040"/>
            <ac:spMk id="10" creationId="{AE4B2B80-7157-F922-E404-D7F6DC852EE6}"/>
          </ac:spMkLst>
        </pc:spChg>
        <pc:spChg chg="mod">
          <ac:chgData name="長縄 一輝" userId="6e752ca5-6cac-4d39-b3c0-119993377875" providerId="ADAL" clId="{4B2C10FB-3E6F-4CD3-AC5A-0C48C8DDD675}" dt="2024-11-28T05:18:21.595" v="2228" actId="1036"/>
          <ac:spMkLst>
            <pc:docMk/>
            <pc:sldMk cId="2302547238" sldId="22040"/>
            <ac:spMk id="11" creationId="{C12591AF-837C-F2E3-646A-19B4D2F7E6D2}"/>
          </ac:spMkLst>
        </pc:spChg>
        <pc:spChg chg="mod">
          <ac:chgData name="長縄 一輝" userId="6e752ca5-6cac-4d39-b3c0-119993377875" providerId="ADAL" clId="{4B2C10FB-3E6F-4CD3-AC5A-0C48C8DDD675}" dt="2024-11-28T05:18:21.595" v="2228" actId="1036"/>
          <ac:spMkLst>
            <pc:docMk/>
            <pc:sldMk cId="2302547238" sldId="22040"/>
            <ac:spMk id="12" creationId="{652BB023-6533-A560-923E-B64B550557A6}"/>
          </ac:spMkLst>
        </pc:spChg>
        <pc:spChg chg="mod">
          <ac:chgData name="長縄 一輝" userId="6e752ca5-6cac-4d39-b3c0-119993377875" providerId="ADAL" clId="{4B2C10FB-3E6F-4CD3-AC5A-0C48C8DDD675}" dt="2024-11-28T05:18:21.595" v="2228" actId="1036"/>
          <ac:spMkLst>
            <pc:docMk/>
            <pc:sldMk cId="2302547238" sldId="22040"/>
            <ac:spMk id="13" creationId="{B058B0DA-7A90-9E47-94FB-CD6D0450FE56}"/>
          </ac:spMkLst>
        </pc:spChg>
        <pc:spChg chg="add del mod">
          <ac:chgData name="長縄 一輝" userId="6e752ca5-6cac-4d39-b3c0-119993377875" providerId="ADAL" clId="{4B2C10FB-3E6F-4CD3-AC5A-0C48C8DDD675}" dt="2024-11-28T04:43:23.858" v="1675" actId="478"/>
          <ac:spMkLst>
            <pc:docMk/>
            <pc:sldMk cId="2302547238" sldId="22040"/>
            <ac:spMk id="14" creationId="{FCE914A0-A297-A2B7-69F8-9878AC97FCB2}"/>
          </ac:spMkLst>
        </pc:spChg>
        <pc:spChg chg="add mod">
          <ac:chgData name="長縄 一輝" userId="6e752ca5-6cac-4d39-b3c0-119993377875" providerId="ADAL" clId="{4B2C10FB-3E6F-4CD3-AC5A-0C48C8DDD675}" dt="2024-11-28T05:18:28.250" v="2240" actId="1036"/>
          <ac:spMkLst>
            <pc:docMk/>
            <pc:sldMk cId="2302547238" sldId="22040"/>
            <ac:spMk id="15" creationId="{50C6F253-9503-3427-85F5-1E94CC78C00F}"/>
          </ac:spMkLst>
        </pc:spChg>
        <pc:spChg chg="add del mod">
          <ac:chgData name="長縄 一輝" userId="6e752ca5-6cac-4d39-b3c0-119993377875" providerId="ADAL" clId="{4B2C10FB-3E6F-4CD3-AC5A-0C48C8DDD675}" dt="2024-11-28T05:18:15.358" v="2208" actId="478"/>
          <ac:spMkLst>
            <pc:docMk/>
            <pc:sldMk cId="2302547238" sldId="22040"/>
            <ac:spMk id="16" creationId="{6AD83696-9B35-3C40-FADD-92BC3FB13C70}"/>
          </ac:spMkLst>
        </pc:spChg>
      </pc:sldChg>
      <pc:sldChg chg="del">
        <pc:chgData name="長縄 一輝" userId="6e752ca5-6cac-4d39-b3c0-119993377875" providerId="ADAL" clId="{4B2C10FB-3E6F-4CD3-AC5A-0C48C8DDD675}" dt="2024-11-28T02:46:07.254" v="20" actId="47"/>
        <pc:sldMkLst>
          <pc:docMk/>
          <pc:sldMk cId="1965434563" sldId="22041"/>
        </pc:sldMkLst>
      </pc:sldChg>
      <pc:sldChg chg="del">
        <pc:chgData name="長縄 一輝" userId="6e752ca5-6cac-4d39-b3c0-119993377875" providerId="ADAL" clId="{4B2C10FB-3E6F-4CD3-AC5A-0C48C8DDD675}" dt="2024-11-28T03:04:55.736" v="415" actId="47"/>
        <pc:sldMkLst>
          <pc:docMk/>
          <pc:sldMk cId="2075900122" sldId="22044"/>
        </pc:sldMkLst>
      </pc:sldChg>
      <pc:sldChg chg="add del">
        <pc:chgData name="長縄 一輝" userId="6e752ca5-6cac-4d39-b3c0-119993377875" providerId="ADAL" clId="{4B2C10FB-3E6F-4CD3-AC5A-0C48C8DDD675}" dt="2024-11-28T02:46:40.581" v="23" actId="47"/>
        <pc:sldMkLst>
          <pc:docMk/>
          <pc:sldMk cId="1049878658" sldId="2132737305"/>
        </pc:sldMkLst>
      </pc:sldChg>
      <pc:sldChg chg="modSp add del mod ord">
        <pc:chgData name="長縄 一輝" userId="6e752ca5-6cac-4d39-b3c0-119993377875" providerId="ADAL" clId="{4B2C10FB-3E6F-4CD3-AC5A-0C48C8DDD675}" dt="2024-12-02T05:56:17.973" v="2391" actId="20577"/>
        <pc:sldMkLst>
          <pc:docMk/>
          <pc:sldMk cId="1544090745" sldId="2132737834"/>
        </pc:sldMkLst>
        <pc:spChg chg="mod">
          <ac:chgData name="長縄 一輝" userId="6e752ca5-6cac-4d39-b3c0-119993377875" providerId="ADAL" clId="{4B2C10FB-3E6F-4CD3-AC5A-0C48C8DDD675}" dt="2024-12-02T05:56:17.973" v="2391" actId="20577"/>
          <ac:spMkLst>
            <pc:docMk/>
            <pc:sldMk cId="1544090745" sldId="2132737834"/>
            <ac:spMk id="2" creationId="{DD00F34D-DC8B-15F3-C290-44B704D81706}"/>
          </ac:spMkLst>
        </pc:spChg>
      </pc:sldChg>
      <pc:sldChg chg="add del">
        <pc:chgData name="長縄 一輝" userId="6e752ca5-6cac-4d39-b3c0-119993377875" providerId="ADAL" clId="{4B2C10FB-3E6F-4CD3-AC5A-0C48C8DDD675}" dt="2024-11-28T02:44:03.147" v="17" actId="47"/>
        <pc:sldMkLst>
          <pc:docMk/>
          <pc:sldMk cId="1811681554" sldId="2132737928"/>
        </pc:sldMkLst>
      </pc:sldChg>
      <pc:sldChg chg="add del">
        <pc:chgData name="長縄 一輝" userId="6e752ca5-6cac-4d39-b3c0-119993377875" providerId="ADAL" clId="{4B2C10FB-3E6F-4CD3-AC5A-0C48C8DDD675}" dt="2024-11-28T02:46:39.065" v="22" actId="47"/>
        <pc:sldMkLst>
          <pc:docMk/>
          <pc:sldMk cId="2182847564" sldId="2132737933"/>
        </pc:sldMkLst>
      </pc:sldChg>
      <pc:sldChg chg="add del">
        <pc:chgData name="長縄 一輝" userId="6e752ca5-6cac-4d39-b3c0-119993377875" providerId="ADAL" clId="{4B2C10FB-3E6F-4CD3-AC5A-0C48C8DDD675}" dt="2024-11-28T02:48:40.803" v="25" actId="47"/>
        <pc:sldMkLst>
          <pc:docMk/>
          <pc:sldMk cId="3022882857" sldId="2132737961"/>
        </pc:sldMkLst>
      </pc:sldChg>
      <pc:sldChg chg="del">
        <pc:chgData name="長縄 一輝" userId="6e752ca5-6cac-4d39-b3c0-119993377875" providerId="ADAL" clId="{4B2C10FB-3E6F-4CD3-AC5A-0C48C8DDD675}" dt="2024-11-28T02:52:06.070" v="29" actId="47"/>
        <pc:sldMkLst>
          <pc:docMk/>
          <pc:sldMk cId="3766621525" sldId="2132737966"/>
        </pc:sldMkLst>
      </pc:sldChg>
      <pc:sldChg chg="del">
        <pc:chgData name="長縄 一輝" userId="6e752ca5-6cac-4d39-b3c0-119993377875" providerId="ADAL" clId="{4B2C10FB-3E6F-4CD3-AC5A-0C48C8DDD675}" dt="2024-11-28T04:25:39.619" v="1021" actId="47"/>
        <pc:sldMkLst>
          <pc:docMk/>
          <pc:sldMk cId="610947677" sldId="2132737967"/>
        </pc:sldMkLst>
      </pc:sldChg>
      <pc:sldChg chg="del">
        <pc:chgData name="長縄 一輝" userId="6e752ca5-6cac-4d39-b3c0-119993377875" providerId="ADAL" clId="{4B2C10FB-3E6F-4CD3-AC5A-0C48C8DDD675}" dt="2024-11-28T02:48:57.230" v="26" actId="47"/>
        <pc:sldMkLst>
          <pc:docMk/>
          <pc:sldMk cId="1487463615" sldId="2132737968"/>
        </pc:sldMkLst>
      </pc:sldChg>
      <pc:sldChg chg="del">
        <pc:chgData name="長縄 一輝" userId="6e752ca5-6cac-4d39-b3c0-119993377875" providerId="ADAL" clId="{4B2C10FB-3E6F-4CD3-AC5A-0C48C8DDD675}" dt="2024-11-28T02:50:49.139" v="27" actId="47"/>
        <pc:sldMkLst>
          <pc:docMk/>
          <pc:sldMk cId="880847685" sldId="2132737969"/>
        </pc:sldMkLst>
      </pc:sldChg>
      <pc:sldChg chg="del">
        <pc:chgData name="長縄 一輝" userId="6e752ca5-6cac-4d39-b3c0-119993377875" providerId="ADAL" clId="{4B2C10FB-3E6F-4CD3-AC5A-0C48C8DDD675}" dt="2024-11-28T02:51:38.651" v="28" actId="47"/>
        <pc:sldMkLst>
          <pc:docMk/>
          <pc:sldMk cId="3874720636" sldId="2132737970"/>
        </pc:sldMkLst>
      </pc:sldChg>
      <pc:sldChg chg="add del">
        <pc:chgData name="長縄 一輝" userId="6e752ca5-6cac-4d39-b3c0-119993377875" providerId="ADAL" clId="{4B2C10FB-3E6F-4CD3-AC5A-0C48C8DDD675}" dt="2024-11-28T02:46:41.739" v="24" actId="47"/>
        <pc:sldMkLst>
          <pc:docMk/>
          <pc:sldMk cId="2699177342" sldId="2132737971"/>
        </pc:sldMkLst>
      </pc:sldChg>
      <pc:sldChg chg="addSp delSp modSp del mod">
        <pc:chgData name="長縄 一輝" userId="6e752ca5-6cac-4d39-b3c0-119993377875" providerId="ADAL" clId="{4B2C10FB-3E6F-4CD3-AC5A-0C48C8DDD675}" dt="2024-12-02T05:52:40.772" v="2313" actId="47"/>
        <pc:sldMkLst>
          <pc:docMk/>
          <pc:sldMk cId="2221963658" sldId="2132737972"/>
        </pc:sldMkLst>
        <pc:spChg chg="mod">
          <ac:chgData name="長縄 一輝" userId="6e752ca5-6cac-4d39-b3c0-119993377875" providerId="ADAL" clId="{4B2C10FB-3E6F-4CD3-AC5A-0C48C8DDD675}" dt="2024-11-28T04:30:56.239" v="1147" actId="1076"/>
          <ac:spMkLst>
            <pc:docMk/>
            <pc:sldMk cId="2221963658" sldId="2132737972"/>
            <ac:spMk id="3" creationId="{95BCC31B-734F-1A3F-CB34-25E202DD59E9}"/>
          </ac:spMkLst>
        </pc:spChg>
        <pc:spChg chg="mod">
          <ac:chgData name="長縄 一輝" userId="6e752ca5-6cac-4d39-b3c0-119993377875" providerId="ADAL" clId="{4B2C10FB-3E6F-4CD3-AC5A-0C48C8DDD675}" dt="2024-11-28T04:19:23.495" v="780" actId="20577"/>
          <ac:spMkLst>
            <pc:docMk/>
            <pc:sldMk cId="2221963658" sldId="2132737972"/>
            <ac:spMk id="6" creationId="{A9E1A4C7-9354-92D0-FDBD-86DF40742C91}"/>
          </ac:spMkLst>
        </pc:spChg>
        <pc:spChg chg="add mod">
          <ac:chgData name="長縄 一輝" userId="6e752ca5-6cac-4d39-b3c0-119993377875" providerId="ADAL" clId="{4B2C10FB-3E6F-4CD3-AC5A-0C48C8DDD675}" dt="2024-11-28T05:18:08.790" v="2207" actId="1036"/>
          <ac:spMkLst>
            <pc:docMk/>
            <pc:sldMk cId="2221963658" sldId="2132737972"/>
            <ac:spMk id="7" creationId="{01C1FE23-F5E2-B4B5-91B9-70E392168ABF}"/>
          </ac:spMkLst>
        </pc:spChg>
        <pc:spChg chg="mod">
          <ac:chgData name="長縄 一輝" userId="6e752ca5-6cac-4d39-b3c0-119993377875" providerId="ADAL" clId="{4B2C10FB-3E6F-4CD3-AC5A-0C48C8DDD675}" dt="2024-11-28T02:58:46.084" v="370" actId="20577"/>
          <ac:spMkLst>
            <pc:docMk/>
            <pc:sldMk cId="2221963658" sldId="2132737972"/>
            <ac:spMk id="9" creationId="{C6B687A0-A224-4472-FF83-CEC4029752C3}"/>
          </ac:spMkLst>
        </pc:spChg>
        <pc:spChg chg="mod">
          <ac:chgData name="長縄 一輝" userId="6e752ca5-6cac-4d39-b3c0-119993377875" providerId="ADAL" clId="{4B2C10FB-3E6F-4CD3-AC5A-0C48C8DDD675}" dt="2024-11-28T02:58:39.629" v="365" actId="20577"/>
          <ac:spMkLst>
            <pc:docMk/>
            <pc:sldMk cId="2221963658" sldId="2132737972"/>
            <ac:spMk id="10" creationId="{D43502CE-3605-5D63-D7A9-E24B251AA4A0}"/>
          </ac:spMkLst>
        </pc:spChg>
        <pc:spChg chg="mod">
          <ac:chgData name="長縄 一輝" userId="6e752ca5-6cac-4d39-b3c0-119993377875" providerId="ADAL" clId="{4B2C10FB-3E6F-4CD3-AC5A-0C48C8DDD675}" dt="2024-11-28T02:58:37.296" v="362" actId="20577"/>
          <ac:spMkLst>
            <pc:docMk/>
            <pc:sldMk cId="2221963658" sldId="2132737972"/>
            <ac:spMk id="11" creationId="{0DE7A4D8-9BAF-F199-EDC7-0325D291959E}"/>
          </ac:spMkLst>
        </pc:spChg>
        <pc:spChg chg="mod">
          <ac:chgData name="長縄 一輝" userId="6e752ca5-6cac-4d39-b3c0-119993377875" providerId="ADAL" clId="{4B2C10FB-3E6F-4CD3-AC5A-0C48C8DDD675}" dt="2024-11-28T02:58:35.255" v="360" actId="20577"/>
          <ac:spMkLst>
            <pc:docMk/>
            <pc:sldMk cId="2221963658" sldId="2132737972"/>
            <ac:spMk id="12" creationId="{643A2819-FC8C-A6CF-9B8E-63B388EC2117}"/>
          </ac:spMkLst>
        </pc:spChg>
        <pc:spChg chg="mod">
          <ac:chgData name="長縄 一輝" userId="6e752ca5-6cac-4d39-b3c0-119993377875" providerId="ADAL" clId="{4B2C10FB-3E6F-4CD3-AC5A-0C48C8DDD675}" dt="2024-11-28T02:58:42.653" v="367" actId="20577"/>
          <ac:spMkLst>
            <pc:docMk/>
            <pc:sldMk cId="2221963658" sldId="2132737972"/>
            <ac:spMk id="13" creationId="{1E1F3D8C-06D2-6B3D-60B3-1C489C7EF7E2}"/>
          </ac:spMkLst>
        </pc:spChg>
        <pc:spChg chg="mod">
          <ac:chgData name="長縄 一輝" userId="6e752ca5-6cac-4d39-b3c0-119993377875" providerId="ADAL" clId="{4B2C10FB-3E6F-4CD3-AC5A-0C48C8DDD675}" dt="2024-11-28T02:57:28.069" v="207"/>
          <ac:spMkLst>
            <pc:docMk/>
            <pc:sldMk cId="2221963658" sldId="2132737972"/>
            <ac:spMk id="14" creationId="{EDB28812-8B3F-2148-6A4F-BA8B3B4C2D19}"/>
          </ac:spMkLst>
        </pc:spChg>
        <pc:spChg chg="mod">
          <ac:chgData name="長縄 一輝" userId="6e752ca5-6cac-4d39-b3c0-119993377875" providerId="ADAL" clId="{4B2C10FB-3E6F-4CD3-AC5A-0C48C8DDD675}" dt="2024-11-28T02:57:28.069" v="207"/>
          <ac:spMkLst>
            <pc:docMk/>
            <pc:sldMk cId="2221963658" sldId="2132737972"/>
            <ac:spMk id="15" creationId="{B1B6988F-C395-EE45-F0BD-F8DFAAB7A7F4}"/>
          </ac:spMkLst>
        </pc:spChg>
        <pc:spChg chg="mod">
          <ac:chgData name="長縄 一輝" userId="6e752ca5-6cac-4d39-b3c0-119993377875" providerId="ADAL" clId="{4B2C10FB-3E6F-4CD3-AC5A-0C48C8DDD675}" dt="2024-11-28T02:57:28.069" v="207"/>
          <ac:spMkLst>
            <pc:docMk/>
            <pc:sldMk cId="2221963658" sldId="2132737972"/>
            <ac:spMk id="16" creationId="{AA5C43D2-97FE-B3F0-8A92-CB70530BAB95}"/>
          </ac:spMkLst>
        </pc:spChg>
        <pc:spChg chg="mod">
          <ac:chgData name="長縄 一輝" userId="6e752ca5-6cac-4d39-b3c0-119993377875" providerId="ADAL" clId="{4B2C10FB-3E6F-4CD3-AC5A-0C48C8DDD675}" dt="2024-11-28T02:57:28.069" v="207"/>
          <ac:spMkLst>
            <pc:docMk/>
            <pc:sldMk cId="2221963658" sldId="2132737972"/>
            <ac:spMk id="17" creationId="{0AFE3A6A-E46A-D909-8AFC-F1E5653F0481}"/>
          </ac:spMkLst>
        </pc:spChg>
        <pc:spChg chg="del mod">
          <ac:chgData name="長縄 一輝" userId="6e752ca5-6cac-4d39-b3c0-119993377875" providerId="ADAL" clId="{4B2C10FB-3E6F-4CD3-AC5A-0C48C8DDD675}" dt="2024-11-28T05:17:54.613" v="2175" actId="478"/>
          <ac:spMkLst>
            <pc:docMk/>
            <pc:sldMk cId="2221963658" sldId="2132737972"/>
            <ac:spMk id="18" creationId="{BB71AA1F-4807-7C67-CDB8-9EE0461262C2}"/>
          </ac:spMkLst>
        </pc:spChg>
        <pc:spChg chg="mod">
          <ac:chgData name="長縄 一輝" userId="6e752ca5-6cac-4d39-b3c0-119993377875" providerId="ADAL" clId="{4B2C10FB-3E6F-4CD3-AC5A-0C48C8DDD675}" dt="2024-11-28T02:57:28.069" v="207"/>
          <ac:spMkLst>
            <pc:docMk/>
            <pc:sldMk cId="2221963658" sldId="2132737972"/>
            <ac:spMk id="19" creationId="{9D0EDF20-0E95-E15B-6000-D35D56C9729E}"/>
          </ac:spMkLst>
        </pc:spChg>
        <pc:spChg chg="add mod">
          <ac:chgData name="長縄 一輝" userId="6e752ca5-6cac-4d39-b3c0-119993377875" providerId="ADAL" clId="{4B2C10FB-3E6F-4CD3-AC5A-0C48C8DDD675}" dt="2024-11-28T05:18:08.790" v="2207" actId="1036"/>
          <ac:spMkLst>
            <pc:docMk/>
            <pc:sldMk cId="2221963658" sldId="2132737972"/>
            <ac:spMk id="20" creationId="{08AB3E5F-A65A-92DA-85E9-DD5913146FF0}"/>
          </ac:spMkLst>
        </pc:spChg>
        <pc:spChg chg="add mod">
          <ac:chgData name="長縄 一輝" userId="6e752ca5-6cac-4d39-b3c0-119993377875" providerId="ADAL" clId="{4B2C10FB-3E6F-4CD3-AC5A-0C48C8DDD675}" dt="2024-11-28T05:18:08.790" v="2207" actId="1036"/>
          <ac:spMkLst>
            <pc:docMk/>
            <pc:sldMk cId="2221963658" sldId="2132737972"/>
            <ac:spMk id="21" creationId="{548B4141-A376-4555-2E00-2F4B8074E54C}"/>
          </ac:spMkLst>
        </pc:spChg>
        <pc:spChg chg="add mod">
          <ac:chgData name="長縄 一輝" userId="6e752ca5-6cac-4d39-b3c0-119993377875" providerId="ADAL" clId="{4B2C10FB-3E6F-4CD3-AC5A-0C48C8DDD675}" dt="2024-11-28T05:18:08.790" v="2207" actId="1036"/>
          <ac:spMkLst>
            <pc:docMk/>
            <pc:sldMk cId="2221963658" sldId="2132737972"/>
            <ac:spMk id="22" creationId="{77ECE970-5CAC-CEAE-0FAE-8F91B4FE3A3C}"/>
          </ac:spMkLst>
        </pc:spChg>
        <pc:spChg chg="add mod">
          <ac:chgData name="長縄 一輝" userId="6e752ca5-6cac-4d39-b3c0-119993377875" providerId="ADAL" clId="{4B2C10FB-3E6F-4CD3-AC5A-0C48C8DDD675}" dt="2024-11-28T05:18:08.790" v="2207" actId="1036"/>
          <ac:spMkLst>
            <pc:docMk/>
            <pc:sldMk cId="2221963658" sldId="2132737972"/>
            <ac:spMk id="23" creationId="{BDE3F5AB-78A1-5AA6-D121-BB1CCDA58971}"/>
          </ac:spMkLst>
        </pc:spChg>
        <pc:spChg chg="add mod">
          <ac:chgData name="長縄 一輝" userId="6e752ca5-6cac-4d39-b3c0-119993377875" providerId="ADAL" clId="{4B2C10FB-3E6F-4CD3-AC5A-0C48C8DDD675}" dt="2024-11-28T05:18:08.790" v="2207" actId="1036"/>
          <ac:spMkLst>
            <pc:docMk/>
            <pc:sldMk cId="2221963658" sldId="2132737972"/>
            <ac:spMk id="24" creationId="{CAE0DA39-FA14-D822-4007-A1A20E7C74FD}"/>
          </ac:spMkLst>
        </pc:spChg>
        <pc:spChg chg="add mod">
          <ac:chgData name="長縄 一輝" userId="6e752ca5-6cac-4d39-b3c0-119993377875" providerId="ADAL" clId="{4B2C10FB-3E6F-4CD3-AC5A-0C48C8DDD675}" dt="2024-11-28T05:18:08.790" v="2207" actId="1036"/>
          <ac:spMkLst>
            <pc:docMk/>
            <pc:sldMk cId="2221963658" sldId="2132737972"/>
            <ac:spMk id="25" creationId="{FE5F47DE-9A20-D267-7FBB-450E821A8FBD}"/>
          </ac:spMkLst>
        </pc:spChg>
        <pc:spChg chg="add mod">
          <ac:chgData name="長縄 一輝" userId="6e752ca5-6cac-4d39-b3c0-119993377875" providerId="ADAL" clId="{4B2C10FB-3E6F-4CD3-AC5A-0C48C8DDD675}" dt="2024-11-28T05:18:08.790" v="2207" actId="1036"/>
          <ac:spMkLst>
            <pc:docMk/>
            <pc:sldMk cId="2221963658" sldId="2132737972"/>
            <ac:spMk id="26" creationId="{24869820-A97B-F485-D8F5-5D28A259D358}"/>
          </ac:spMkLst>
        </pc:spChg>
        <pc:spChg chg="add mod">
          <ac:chgData name="長縄 一輝" userId="6e752ca5-6cac-4d39-b3c0-119993377875" providerId="ADAL" clId="{4B2C10FB-3E6F-4CD3-AC5A-0C48C8DDD675}" dt="2024-11-28T05:18:08.790" v="2207" actId="1036"/>
          <ac:spMkLst>
            <pc:docMk/>
            <pc:sldMk cId="2221963658" sldId="2132737972"/>
            <ac:spMk id="27" creationId="{284FC744-7A0E-4426-518F-12C0DD1FBB30}"/>
          </ac:spMkLst>
        </pc:spChg>
        <pc:spChg chg="add del mod">
          <ac:chgData name="長縄 一輝" userId="6e752ca5-6cac-4d39-b3c0-119993377875" providerId="ADAL" clId="{4B2C10FB-3E6F-4CD3-AC5A-0C48C8DDD675}" dt="2024-11-28T03:07:35.058" v="426" actId="478"/>
          <ac:spMkLst>
            <pc:docMk/>
            <pc:sldMk cId="2221963658" sldId="2132737972"/>
            <ac:spMk id="28" creationId="{6E2F2D5E-E40C-B0A6-0B80-B4C688F763C7}"/>
          </ac:spMkLst>
        </pc:spChg>
        <pc:spChg chg="add mod">
          <ac:chgData name="長縄 一輝" userId="6e752ca5-6cac-4d39-b3c0-119993377875" providerId="ADAL" clId="{4B2C10FB-3E6F-4CD3-AC5A-0C48C8DDD675}" dt="2024-11-28T05:18:08.790" v="2207" actId="1036"/>
          <ac:spMkLst>
            <pc:docMk/>
            <pc:sldMk cId="2221963658" sldId="2132737972"/>
            <ac:spMk id="29" creationId="{5C716DA1-D08F-16D4-E1BE-D160443159A5}"/>
          </ac:spMkLst>
        </pc:spChg>
        <pc:spChg chg="add mod">
          <ac:chgData name="長縄 一輝" userId="6e752ca5-6cac-4d39-b3c0-119993377875" providerId="ADAL" clId="{4B2C10FB-3E6F-4CD3-AC5A-0C48C8DDD675}" dt="2024-11-28T05:18:08.790" v="2207" actId="1036"/>
          <ac:spMkLst>
            <pc:docMk/>
            <pc:sldMk cId="2221963658" sldId="2132737972"/>
            <ac:spMk id="30" creationId="{B7B4512F-84D9-3AA1-FD38-88647667237D}"/>
          </ac:spMkLst>
        </pc:spChg>
        <pc:spChg chg="add mod">
          <ac:chgData name="長縄 一輝" userId="6e752ca5-6cac-4d39-b3c0-119993377875" providerId="ADAL" clId="{4B2C10FB-3E6F-4CD3-AC5A-0C48C8DDD675}" dt="2024-11-28T05:18:08.790" v="2207" actId="1036"/>
          <ac:spMkLst>
            <pc:docMk/>
            <pc:sldMk cId="2221963658" sldId="2132737972"/>
            <ac:spMk id="31" creationId="{0E8BC425-A85D-5525-B890-DBF73356F5E4}"/>
          </ac:spMkLst>
        </pc:spChg>
        <pc:spChg chg="add mod">
          <ac:chgData name="長縄 一輝" userId="6e752ca5-6cac-4d39-b3c0-119993377875" providerId="ADAL" clId="{4B2C10FB-3E6F-4CD3-AC5A-0C48C8DDD675}" dt="2024-11-28T05:18:08.790" v="2207" actId="1036"/>
          <ac:spMkLst>
            <pc:docMk/>
            <pc:sldMk cId="2221963658" sldId="2132737972"/>
            <ac:spMk id="32" creationId="{305540FD-8FFB-8733-A81B-E81DC05EF9A8}"/>
          </ac:spMkLst>
        </pc:spChg>
        <pc:spChg chg="add mod">
          <ac:chgData name="長縄 一輝" userId="6e752ca5-6cac-4d39-b3c0-119993377875" providerId="ADAL" clId="{4B2C10FB-3E6F-4CD3-AC5A-0C48C8DDD675}" dt="2024-11-28T05:18:08.790" v="2207" actId="1036"/>
          <ac:spMkLst>
            <pc:docMk/>
            <pc:sldMk cId="2221963658" sldId="2132737972"/>
            <ac:spMk id="33" creationId="{4D547F38-9E96-38B4-A237-02BB7B7BA062}"/>
          </ac:spMkLst>
        </pc:spChg>
        <pc:spChg chg="add del mod">
          <ac:chgData name="長縄 一輝" userId="6e752ca5-6cac-4d39-b3c0-119993377875" providerId="ADAL" clId="{4B2C10FB-3E6F-4CD3-AC5A-0C48C8DDD675}" dt="2024-11-28T05:18:01.069" v="2176" actId="478"/>
          <ac:spMkLst>
            <pc:docMk/>
            <pc:sldMk cId="2221963658" sldId="2132737972"/>
            <ac:spMk id="34" creationId="{C7CD364C-7582-3009-6E0C-461C6CFB1505}"/>
          </ac:spMkLst>
        </pc:spChg>
        <pc:spChg chg="mod">
          <ac:chgData name="長縄 一輝" userId="6e752ca5-6cac-4d39-b3c0-119993377875" providerId="ADAL" clId="{4B2C10FB-3E6F-4CD3-AC5A-0C48C8DDD675}" dt="2024-11-28T02:55:42.816" v="86" actId="6549"/>
          <ac:spMkLst>
            <pc:docMk/>
            <pc:sldMk cId="2221963658" sldId="2132737972"/>
            <ac:spMk id="44" creationId="{BAEA1378-816F-6A85-C292-2165E1437E33}"/>
          </ac:spMkLst>
        </pc:spChg>
        <pc:spChg chg="mod">
          <ac:chgData name="長縄 一輝" userId="6e752ca5-6cac-4d39-b3c0-119993377875" providerId="ADAL" clId="{4B2C10FB-3E6F-4CD3-AC5A-0C48C8DDD675}" dt="2024-11-28T04:49:13.383" v="1936"/>
          <ac:spMkLst>
            <pc:docMk/>
            <pc:sldMk cId="2221963658" sldId="2132737972"/>
            <ac:spMk id="47" creationId="{2A136E0B-114E-1340-2088-6653DD856CB3}"/>
          </ac:spMkLst>
        </pc:spChg>
        <pc:spChg chg="add del">
          <ac:chgData name="長縄 一輝" userId="6e752ca5-6cac-4d39-b3c0-119993377875" providerId="ADAL" clId="{4B2C10FB-3E6F-4CD3-AC5A-0C48C8DDD675}" dt="2024-11-28T02:55:47.292" v="91" actId="478"/>
          <ac:spMkLst>
            <pc:docMk/>
            <pc:sldMk cId="2221963658" sldId="2132737972"/>
            <ac:spMk id="53" creationId="{1C40A1EE-7F56-A219-E326-4B2BA69D6314}"/>
          </ac:spMkLst>
        </pc:spChg>
        <pc:spChg chg="add del">
          <ac:chgData name="長縄 一輝" userId="6e752ca5-6cac-4d39-b3c0-119993377875" providerId="ADAL" clId="{4B2C10FB-3E6F-4CD3-AC5A-0C48C8DDD675}" dt="2024-11-28T02:55:47.292" v="91" actId="478"/>
          <ac:spMkLst>
            <pc:docMk/>
            <pc:sldMk cId="2221963658" sldId="2132737972"/>
            <ac:spMk id="54" creationId="{9581778C-5437-62F2-F95D-604E00C4E6B0}"/>
          </ac:spMkLst>
        </pc:spChg>
        <pc:spChg chg="add del mod">
          <ac:chgData name="長縄 一輝" userId="6e752ca5-6cac-4d39-b3c0-119993377875" providerId="ADAL" clId="{4B2C10FB-3E6F-4CD3-AC5A-0C48C8DDD675}" dt="2024-11-28T05:18:08.790" v="2207" actId="1036"/>
          <ac:spMkLst>
            <pc:docMk/>
            <pc:sldMk cId="2221963658" sldId="2132737972"/>
            <ac:spMk id="55" creationId="{08892EF1-FC2D-8A7E-DB58-7E2659042FE5}"/>
          </ac:spMkLst>
        </pc:spChg>
        <pc:spChg chg="add del">
          <ac:chgData name="長縄 一輝" userId="6e752ca5-6cac-4d39-b3c0-119993377875" providerId="ADAL" clId="{4B2C10FB-3E6F-4CD3-AC5A-0C48C8DDD675}" dt="2024-11-28T02:55:47.292" v="91" actId="478"/>
          <ac:spMkLst>
            <pc:docMk/>
            <pc:sldMk cId="2221963658" sldId="2132737972"/>
            <ac:spMk id="56" creationId="{EF4BECEA-A70F-983A-D75C-11EF2AD7A6F7}"/>
          </ac:spMkLst>
        </pc:spChg>
        <pc:spChg chg="add del mod">
          <ac:chgData name="長縄 一輝" userId="6e752ca5-6cac-4d39-b3c0-119993377875" providerId="ADAL" clId="{4B2C10FB-3E6F-4CD3-AC5A-0C48C8DDD675}" dt="2024-11-28T05:18:08.790" v="2207" actId="1036"/>
          <ac:spMkLst>
            <pc:docMk/>
            <pc:sldMk cId="2221963658" sldId="2132737972"/>
            <ac:spMk id="68" creationId="{A4F9CBB8-F41C-9611-AC05-C93EF042D11B}"/>
          </ac:spMkLst>
        </pc:spChg>
        <pc:spChg chg="add del mod">
          <ac:chgData name="長縄 一輝" userId="6e752ca5-6cac-4d39-b3c0-119993377875" providerId="ADAL" clId="{4B2C10FB-3E6F-4CD3-AC5A-0C48C8DDD675}" dt="2024-11-28T05:18:08.790" v="2207" actId="1036"/>
          <ac:spMkLst>
            <pc:docMk/>
            <pc:sldMk cId="2221963658" sldId="2132737972"/>
            <ac:spMk id="69" creationId="{6B6C97F2-9A57-7D9A-3CFC-DC98EDB2263D}"/>
          </ac:spMkLst>
        </pc:spChg>
        <pc:spChg chg="add del mod">
          <ac:chgData name="長縄 一輝" userId="6e752ca5-6cac-4d39-b3c0-119993377875" providerId="ADAL" clId="{4B2C10FB-3E6F-4CD3-AC5A-0C48C8DDD675}" dt="2024-11-28T05:18:08.790" v="2207" actId="1036"/>
          <ac:spMkLst>
            <pc:docMk/>
            <pc:sldMk cId="2221963658" sldId="2132737972"/>
            <ac:spMk id="70" creationId="{79B05BF3-C32C-3D00-27F2-734CB1CE38C0}"/>
          </ac:spMkLst>
        </pc:spChg>
        <pc:spChg chg="add del mod">
          <ac:chgData name="長縄 一輝" userId="6e752ca5-6cac-4d39-b3c0-119993377875" providerId="ADAL" clId="{4B2C10FB-3E6F-4CD3-AC5A-0C48C8DDD675}" dt="2024-11-28T05:18:08.790" v="2207" actId="1036"/>
          <ac:spMkLst>
            <pc:docMk/>
            <pc:sldMk cId="2221963658" sldId="2132737972"/>
            <ac:spMk id="71" creationId="{8BC4EA7C-6336-7F73-5604-5272E1861B55}"/>
          </ac:spMkLst>
        </pc:spChg>
        <pc:spChg chg="add del mod">
          <ac:chgData name="長縄 一輝" userId="6e752ca5-6cac-4d39-b3c0-119993377875" providerId="ADAL" clId="{4B2C10FB-3E6F-4CD3-AC5A-0C48C8DDD675}" dt="2024-11-28T05:18:08.790" v="2207" actId="1036"/>
          <ac:spMkLst>
            <pc:docMk/>
            <pc:sldMk cId="2221963658" sldId="2132737972"/>
            <ac:spMk id="72" creationId="{6FF6C22D-2DD5-F735-E314-81BF027249C8}"/>
          </ac:spMkLst>
        </pc:spChg>
        <pc:spChg chg="add del mod">
          <ac:chgData name="長縄 一輝" userId="6e752ca5-6cac-4d39-b3c0-119993377875" providerId="ADAL" clId="{4B2C10FB-3E6F-4CD3-AC5A-0C48C8DDD675}" dt="2024-11-28T05:18:08.790" v="2207" actId="1036"/>
          <ac:spMkLst>
            <pc:docMk/>
            <pc:sldMk cId="2221963658" sldId="2132737972"/>
            <ac:spMk id="73" creationId="{522AF4D1-EFD5-2546-D695-DAD82616C8AD}"/>
          </ac:spMkLst>
        </pc:spChg>
        <pc:spChg chg="add del mod">
          <ac:chgData name="長縄 一輝" userId="6e752ca5-6cac-4d39-b3c0-119993377875" providerId="ADAL" clId="{4B2C10FB-3E6F-4CD3-AC5A-0C48C8DDD675}" dt="2024-11-28T05:18:08.790" v="2207" actId="1036"/>
          <ac:spMkLst>
            <pc:docMk/>
            <pc:sldMk cId="2221963658" sldId="2132737972"/>
            <ac:spMk id="74" creationId="{956E4BDE-4BB8-4500-29A8-9428566DDA65}"/>
          </ac:spMkLst>
        </pc:spChg>
        <pc:spChg chg="add del mod">
          <ac:chgData name="長縄 一輝" userId="6e752ca5-6cac-4d39-b3c0-119993377875" providerId="ADAL" clId="{4B2C10FB-3E6F-4CD3-AC5A-0C48C8DDD675}" dt="2024-11-28T05:18:08.790" v="2207" actId="1036"/>
          <ac:spMkLst>
            <pc:docMk/>
            <pc:sldMk cId="2221963658" sldId="2132737972"/>
            <ac:spMk id="75" creationId="{B9D7B88A-B223-E162-0DA6-7980A29BF983}"/>
          </ac:spMkLst>
        </pc:spChg>
        <pc:spChg chg="add del mod">
          <ac:chgData name="長縄 一輝" userId="6e752ca5-6cac-4d39-b3c0-119993377875" providerId="ADAL" clId="{4B2C10FB-3E6F-4CD3-AC5A-0C48C8DDD675}" dt="2024-11-28T05:18:08.790" v="2207" actId="1036"/>
          <ac:spMkLst>
            <pc:docMk/>
            <pc:sldMk cId="2221963658" sldId="2132737972"/>
            <ac:spMk id="76" creationId="{AF13EBC1-A874-9513-D993-498021F926B7}"/>
          </ac:spMkLst>
        </pc:spChg>
        <pc:spChg chg="add del mod">
          <ac:chgData name="長縄 一輝" userId="6e752ca5-6cac-4d39-b3c0-119993377875" providerId="ADAL" clId="{4B2C10FB-3E6F-4CD3-AC5A-0C48C8DDD675}" dt="2024-11-28T05:18:08.790" v="2207" actId="1036"/>
          <ac:spMkLst>
            <pc:docMk/>
            <pc:sldMk cId="2221963658" sldId="2132737972"/>
            <ac:spMk id="77" creationId="{24D94922-2F65-2DF3-C26B-AB134BDD5FA8}"/>
          </ac:spMkLst>
        </pc:spChg>
        <pc:spChg chg="add del mod">
          <ac:chgData name="長縄 一輝" userId="6e752ca5-6cac-4d39-b3c0-119993377875" providerId="ADAL" clId="{4B2C10FB-3E6F-4CD3-AC5A-0C48C8DDD675}" dt="2024-11-28T05:18:08.790" v="2207" actId="1036"/>
          <ac:spMkLst>
            <pc:docMk/>
            <pc:sldMk cId="2221963658" sldId="2132737972"/>
            <ac:spMk id="78" creationId="{39BD6887-FDD1-77CF-CB53-B103E7D96005}"/>
          </ac:spMkLst>
        </pc:spChg>
        <pc:grpChg chg="add mod">
          <ac:chgData name="長縄 一輝" userId="6e752ca5-6cac-4d39-b3c0-119993377875" providerId="ADAL" clId="{4B2C10FB-3E6F-4CD3-AC5A-0C48C8DDD675}" dt="2024-11-28T05:18:08.790" v="2207" actId="1036"/>
          <ac:grpSpMkLst>
            <pc:docMk/>
            <pc:sldMk cId="2221963658" sldId="2132737972"/>
            <ac:grpSpMk id="2" creationId="{8D0167C4-63C4-40D4-C898-D90686A0729D}"/>
          </ac:grpSpMkLst>
        </pc:grpChg>
        <pc:grpChg chg="add mod">
          <ac:chgData name="長縄 一輝" userId="6e752ca5-6cac-4d39-b3c0-119993377875" providerId="ADAL" clId="{4B2C10FB-3E6F-4CD3-AC5A-0C48C8DDD675}" dt="2024-11-28T05:18:08.790" v="2207" actId="1036"/>
          <ac:grpSpMkLst>
            <pc:docMk/>
            <pc:sldMk cId="2221963658" sldId="2132737972"/>
            <ac:grpSpMk id="8" creationId="{2AB0B73A-6916-E13C-8BB4-DF01141F49E1}"/>
          </ac:grpSpMkLst>
        </pc:grpChg>
        <pc:grpChg chg="add del">
          <ac:chgData name="長縄 一輝" userId="6e752ca5-6cac-4d39-b3c0-119993377875" providerId="ADAL" clId="{4B2C10FB-3E6F-4CD3-AC5A-0C48C8DDD675}" dt="2024-11-28T02:56:02.549" v="96" actId="478"/>
          <ac:grpSpMkLst>
            <pc:docMk/>
            <pc:sldMk cId="2221963658" sldId="2132737972"/>
            <ac:grpSpMk id="42" creationId="{8839155E-C5C1-C06A-10E1-9C7FC47B2B60}"/>
          </ac:grpSpMkLst>
        </pc:grpChg>
        <pc:grpChg chg="add del mod">
          <ac:chgData name="長縄 一輝" userId="6e752ca5-6cac-4d39-b3c0-119993377875" providerId="ADAL" clId="{4B2C10FB-3E6F-4CD3-AC5A-0C48C8DDD675}" dt="2024-11-28T05:18:08.790" v="2207" actId="1036"/>
          <ac:grpSpMkLst>
            <pc:docMk/>
            <pc:sldMk cId="2221963658" sldId="2132737972"/>
            <ac:grpSpMk id="45" creationId="{E5B38A30-C33B-B155-E59C-B49BD859B87D}"/>
          </ac:grpSpMkLst>
        </pc:grpChg>
        <pc:grpChg chg="add del mod">
          <ac:chgData name="長縄 一輝" userId="6e752ca5-6cac-4d39-b3c0-119993377875" providerId="ADAL" clId="{4B2C10FB-3E6F-4CD3-AC5A-0C48C8DDD675}" dt="2024-11-28T05:18:08.790" v="2207" actId="1036"/>
          <ac:grpSpMkLst>
            <pc:docMk/>
            <pc:sldMk cId="2221963658" sldId="2132737972"/>
            <ac:grpSpMk id="57" creationId="{A7FDC28E-487B-94DF-BF0B-121AC438083A}"/>
          </ac:grpSpMkLst>
        </pc:grpChg>
        <pc:picChg chg="add del">
          <ac:chgData name="長縄 一輝" userId="6e752ca5-6cac-4d39-b3c0-119993377875" providerId="ADAL" clId="{4B2C10FB-3E6F-4CD3-AC5A-0C48C8DDD675}" dt="2024-11-28T02:55:47.292" v="91" actId="478"/>
          <ac:picMkLst>
            <pc:docMk/>
            <pc:sldMk cId="2221963658" sldId="2132737972"/>
            <ac:picMk id="48" creationId="{7DFC90DB-10E2-07E8-84EA-C5419D3F12B1}"/>
          </ac:picMkLst>
        </pc:picChg>
        <pc:picChg chg="add del">
          <ac:chgData name="長縄 一輝" userId="6e752ca5-6cac-4d39-b3c0-119993377875" providerId="ADAL" clId="{4B2C10FB-3E6F-4CD3-AC5A-0C48C8DDD675}" dt="2024-11-28T02:55:47.292" v="91" actId="478"/>
          <ac:picMkLst>
            <pc:docMk/>
            <pc:sldMk cId="2221963658" sldId="2132737972"/>
            <ac:picMk id="49" creationId="{5987B18E-B9CE-BA68-E8A9-75838F979254}"/>
          </ac:picMkLst>
        </pc:picChg>
        <pc:picChg chg="add del">
          <ac:chgData name="長縄 一輝" userId="6e752ca5-6cac-4d39-b3c0-119993377875" providerId="ADAL" clId="{4B2C10FB-3E6F-4CD3-AC5A-0C48C8DDD675}" dt="2024-11-28T02:55:47.292" v="91" actId="478"/>
          <ac:picMkLst>
            <pc:docMk/>
            <pc:sldMk cId="2221963658" sldId="2132737972"/>
            <ac:picMk id="51" creationId="{B9DFE150-A517-A7CA-67C7-5D2B8A41E698}"/>
          </ac:picMkLst>
        </pc:picChg>
        <pc:cxnChg chg="mod">
          <ac:chgData name="長縄 一輝" userId="6e752ca5-6cac-4d39-b3c0-119993377875" providerId="ADAL" clId="{4B2C10FB-3E6F-4CD3-AC5A-0C48C8DDD675}" dt="2024-11-28T02:57:28.069" v="207"/>
          <ac:cxnSpMkLst>
            <pc:docMk/>
            <pc:sldMk cId="2221963658" sldId="2132737972"/>
            <ac:cxnSpMk id="5" creationId="{11F62679-2E7B-FC61-931F-9946ECF82176}"/>
          </ac:cxnSpMkLst>
        </pc:cxnChg>
        <pc:cxnChg chg="add del">
          <ac:chgData name="長縄 一輝" userId="6e752ca5-6cac-4d39-b3c0-119993377875" providerId="ADAL" clId="{4B2C10FB-3E6F-4CD3-AC5A-0C48C8DDD675}" dt="2024-11-28T02:55:47.292" v="91" actId="478"/>
          <ac:cxnSpMkLst>
            <pc:docMk/>
            <pc:sldMk cId="2221963658" sldId="2132737972"/>
            <ac:cxnSpMk id="50" creationId="{52E273FD-1A6B-3CF6-0FFC-72269F1B00BE}"/>
          </ac:cxnSpMkLst>
        </pc:cxnChg>
        <pc:cxnChg chg="add del">
          <ac:chgData name="長縄 一輝" userId="6e752ca5-6cac-4d39-b3c0-119993377875" providerId="ADAL" clId="{4B2C10FB-3E6F-4CD3-AC5A-0C48C8DDD675}" dt="2024-11-28T02:55:47.292" v="91" actId="478"/>
          <ac:cxnSpMkLst>
            <pc:docMk/>
            <pc:sldMk cId="2221963658" sldId="2132737972"/>
            <ac:cxnSpMk id="52" creationId="{AB5C1BF1-C2B2-41E9-A00A-42FF75E34592}"/>
          </ac:cxnSpMkLst>
        </pc:cxnChg>
      </pc:sldChg>
      <pc:sldChg chg="addSp delSp modSp add mod delAnim">
        <pc:chgData name="長縄 一輝" userId="6e752ca5-6cac-4d39-b3c0-119993377875" providerId="ADAL" clId="{4B2C10FB-3E6F-4CD3-AC5A-0C48C8DDD675}" dt="2024-11-28T05:29:30.130" v="2307"/>
        <pc:sldMkLst>
          <pc:docMk/>
          <pc:sldMk cId="1044353484" sldId="2132737973"/>
        </pc:sldMkLst>
        <pc:spChg chg="add del mod">
          <ac:chgData name="長縄 一輝" userId="6e752ca5-6cac-4d39-b3c0-119993377875" providerId="ADAL" clId="{4B2C10FB-3E6F-4CD3-AC5A-0C48C8DDD675}" dt="2024-11-28T05:18:48.647" v="2250" actId="478"/>
          <ac:spMkLst>
            <pc:docMk/>
            <pc:sldMk cId="1044353484" sldId="2132737973"/>
            <ac:spMk id="3" creationId="{DAF9976D-09D2-6B49-A3C5-63B28D13183F}"/>
          </ac:spMkLst>
        </pc:spChg>
        <pc:spChg chg="mod">
          <ac:chgData name="長縄 一輝" userId="6e752ca5-6cac-4d39-b3c0-119993377875" providerId="ADAL" clId="{4B2C10FB-3E6F-4CD3-AC5A-0C48C8DDD675}" dt="2024-11-28T05:29:30.130" v="2307"/>
          <ac:spMkLst>
            <pc:docMk/>
            <pc:sldMk cId="1044353484" sldId="2132737973"/>
            <ac:spMk id="4" creationId="{AE172B0E-EFB8-F4CF-AFF1-5B3A8CE87BEE}"/>
          </ac:spMkLst>
        </pc:spChg>
        <pc:spChg chg="add del mod">
          <ac:chgData name="長縄 一輝" userId="6e752ca5-6cac-4d39-b3c0-119993377875" providerId="ADAL" clId="{4B2C10FB-3E6F-4CD3-AC5A-0C48C8DDD675}" dt="2024-11-28T05:18:45.084" v="2249" actId="478"/>
          <ac:spMkLst>
            <pc:docMk/>
            <pc:sldMk cId="1044353484" sldId="2132737973"/>
            <ac:spMk id="6" creationId="{D6B5A1C8-A790-9AE9-2DB9-F628DD2D9155}"/>
          </ac:spMkLst>
        </pc:spChg>
        <pc:spChg chg="mod">
          <ac:chgData name="長縄 一輝" userId="6e752ca5-6cac-4d39-b3c0-119993377875" providerId="ADAL" clId="{4B2C10FB-3E6F-4CD3-AC5A-0C48C8DDD675}" dt="2024-11-28T05:19:14.411" v="2306" actId="1036"/>
          <ac:spMkLst>
            <pc:docMk/>
            <pc:sldMk cId="1044353484" sldId="2132737973"/>
            <ac:spMk id="18" creationId="{1CD5F8A8-136D-A6A3-2AA1-B9DA7E5F2E49}"/>
          </ac:spMkLst>
        </pc:spChg>
        <pc:spChg chg="mod">
          <ac:chgData name="長縄 一輝" userId="6e752ca5-6cac-4d39-b3c0-119993377875" providerId="ADAL" clId="{4B2C10FB-3E6F-4CD3-AC5A-0C48C8DDD675}" dt="2024-11-28T05:19:14.411" v="2306" actId="1036"/>
          <ac:spMkLst>
            <pc:docMk/>
            <pc:sldMk cId="1044353484" sldId="2132737973"/>
            <ac:spMk id="20" creationId="{56A115EC-9E9A-E382-3147-C3287C20DFCA}"/>
          </ac:spMkLst>
        </pc:spChg>
        <pc:spChg chg="mod">
          <ac:chgData name="長縄 一輝" userId="6e752ca5-6cac-4d39-b3c0-119993377875" providerId="ADAL" clId="{4B2C10FB-3E6F-4CD3-AC5A-0C48C8DDD675}" dt="2024-11-28T05:19:14.411" v="2306" actId="1036"/>
          <ac:spMkLst>
            <pc:docMk/>
            <pc:sldMk cId="1044353484" sldId="2132737973"/>
            <ac:spMk id="21" creationId="{25814892-89E4-25BC-6714-E372683C5731}"/>
          </ac:spMkLst>
        </pc:spChg>
        <pc:spChg chg="mod">
          <ac:chgData name="長縄 一輝" userId="6e752ca5-6cac-4d39-b3c0-119993377875" providerId="ADAL" clId="{4B2C10FB-3E6F-4CD3-AC5A-0C48C8DDD675}" dt="2024-11-28T05:19:14.411" v="2306" actId="1036"/>
          <ac:spMkLst>
            <pc:docMk/>
            <pc:sldMk cId="1044353484" sldId="2132737973"/>
            <ac:spMk id="24" creationId="{5B95267C-0DB0-A8CA-46F2-CC5C3BCC3793}"/>
          </ac:spMkLst>
        </pc:spChg>
        <pc:spChg chg="mod">
          <ac:chgData name="長縄 一輝" userId="6e752ca5-6cac-4d39-b3c0-119993377875" providerId="ADAL" clId="{4B2C10FB-3E6F-4CD3-AC5A-0C48C8DDD675}" dt="2024-11-28T05:19:14.411" v="2306" actId="1036"/>
          <ac:spMkLst>
            <pc:docMk/>
            <pc:sldMk cId="1044353484" sldId="2132737973"/>
            <ac:spMk id="25" creationId="{00FF0BB6-E791-143D-A14E-A81A71EB1C9F}"/>
          </ac:spMkLst>
        </pc:spChg>
        <pc:spChg chg="mod">
          <ac:chgData name="長縄 一輝" userId="6e752ca5-6cac-4d39-b3c0-119993377875" providerId="ADAL" clId="{4B2C10FB-3E6F-4CD3-AC5A-0C48C8DDD675}" dt="2024-11-28T05:19:14.411" v="2306" actId="1036"/>
          <ac:spMkLst>
            <pc:docMk/>
            <pc:sldMk cId="1044353484" sldId="2132737973"/>
            <ac:spMk id="26" creationId="{682FE1DE-D253-0A43-6083-B88AEEFAC408}"/>
          </ac:spMkLst>
        </pc:spChg>
        <pc:spChg chg="mod">
          <ac:chgData name="長縄 一輝" userId="6e752ca5-6cac-4d39-b3c0-119993377875" providerId="ADAL" clId="{4B2C10FB-3E6F-4CD3-AC5A-0C48C8DDD675}" dt="2024-11-28T05:19:14.411" v="2306" actId="1036"/>
          <ac:spMkLst>
            <pc:docMk/>
            <pc:sldMk cId="1044353484" sldId="2132737973"/>
            <ac:spMk id="29" creationId="{4D8126C5-E4E6-1DAD-1023-09EB93C35EE2}"/>
          </ac:spMkLst>
        </pc:spChg>
        <pc:spChg chg="mod">
          <ac:chgData name="長縄 一輝" userId="6e752ca5-6cac-4d39-b3c0-119993377875" providerId="ADAL" clId="{4B2C10FB-3E6F-4CD3-AC5A-0C48C8DDD675}" dt="2024-11-28T05:19:14.411" v="2306" actId="1036"/>
          <ac:spMkLst>
            <pc:docMk/>
            <pc:sldMk cId="1044353484" sldId="2132737973"/>
            <ac:spMk id="32" creationId="{D0DEC046-86DA-7815-B090-6DEC37F2F3E3}"/>
          </ac:spMkLst>
        </pc:spChg>
        <pc:spChg chg="mod">
          <ac:chgData name="長縄 一輝" userId="6e752ca5-6cac-4d39-b3c0-119993377875" providerId="ADAL" clId="{4B2C10FB-3E6F-4CD3-AC5A-0C48C8DDD675}" dt="2024-11-28T05:19:14.411" v="2306" actId="1036"/>
          <ac:spMkLst>
            <pc:docMk/>
            <pc:sldMk cId="1044353484" sldId="2132737973"/>
            <ac:spMk id="33" creationId="{9583E1FF-3D6D-2E6F-79DA-A6FC5166A8F1}"/>
          </ac:spMkLst>
        </pc:spChg>
        <pc:spChg chg="mod">
          <ac:chgData name="長縄 一輝" userId="6e752ca5-6cac-4d39-b3c0-119993377875" providerId="ADAL" clId="{4B2C10FB-3E6F-4CD3-AC5A-0C48C8DDD675}" dt="2024-11-28T05:19:14.411" v="2306" actId="1036"/>
          <ac:spMkLst>
            <pc:docMk/>
            <pc:sldMk cId="1044353484" sldId="2132737973"/>
            <ac:spMk id="34" creationId="{CA15AC91-6A69-F877-1A0E-1E46159FC0C0}"/>
          </ac:spMkLst>
        </pc:spChg>
        <pc:spChg chg="del">
          <ac:chgData name="長縄 一輝" userId="6e752ca5-6cac-4d39-b3c0-119993377875" providerId="ADAL" clId="{4B2C10FB-3E6F-4CD3-AC5A-0C48C8DDD675}" dt="2024-11-28T04:18:09.349" v="725" actId="478"/>
          <ac:spMkLst>
            <pc:docMk/>
            <pc:sldMk cId="1044353484" sldId="2132737973"/>
            <ac:spMk id="42" creationId="{DF335035-E7A0-D7F5-FB18-3D1EB8FEA9CB}"/>
          </ac:spMkLst>
        </pc:spChg>
        <pc:spChg chg="del">
          <ac:chgData name="長縄 一輝" userId="6e752ca5-6cac-4d39-b3c0-119993377875" providerId="ADAL" clId="{4B2C10FB-3E6F-4CD3-AC5A-0C48C8DDD675}" dt="2024-11-28T04:18:21.095" v="726" actId="478"/>
          <ac:spMkLst>
            <pc:docMk/>
            <pc:sldMk cId="1044353484" sldId="2132737973"/>
            <ac:spMk id="44" creationId="{F2C84C9C-3EFD-4AF1-356C-C161D7B03C4B}"/>
          </ac:spMkLst>
        </pc:spChg>
        <pc:spChg chg="add del mod">
          <ac:chgData name="長縄 一輝" userId="6e752ca5-6cac-4d39-b3c0-119993377875" providerId="ADAL" clId="{4B2C10FB-3E6F-4CD3-AC5A-0C48C8DDD675}" dt="2024-11-28T05:19:14.411" v="2306" actId="1036"/>
          <ac:spMkLst>
            <pc:docMk/>
            <pc:sldMk cId="1044353484" sldId="2132737973"/>
            <ac:spMk id="46" creationId="{E0A041CD-07D6-5918-15C0-A92D80F5B871}"/>
          </ac:spMkLst>
        </pc:spChg>
        <pc:cxnChg chg="mod">
          <ac:chgData name="長縄 一輝" userId="6e752ca5-6cac-4d39-b3c0-119993377875" providerId="ADAL" clId="{4B2C10FB-3E6F-4CD3-AC5A-0C48C8DDD675}" dt="2024-11-28T05:19:14.411" v="2306" actId="1036"/>
          <ac:cxnSpMkLst>
            <pc:docMk/>
            <pc:sldMk cId="1044353484" sldId="2132737973"/>
            <ac:cxnSpMk id="35" creationId="{6F80D439-7E53-8DA6-C1D6-020899161482}"/>
          </ac:cxnSpMkLst>
        </pc:cxnChg>
        <pc:cxnChg chg="mod">
          <ac:chgData name="長縄 一輝" userId="6e752ca5-6cac-4d39-b3c0-119993377875" providerId="ADAL" clId="{4B2C10FB-3E6F-4CD3-AC5A-0C48C8DDD675}" dt="2024-11-28T05:19:14.411" v="2306" actId="1036"/>
          <ac:cxnSpMkLst>
            <pc:docMk/>
            <pc:sldMk cId="1044353484" sldId="2132737973"/>
            <ac:cxnSpMk id="37" creationId="{CACC3FBF-FB9A-4A55-AA52-D4379D765653}"/>
          </ac:cxnSpMkLst>
        </pc:cxnChg>
        <pc:cxnChg chg="mod">
          <ac:chgData name="長縄 一輝" userId="6e752ca5-6cac-4d39-b3c0-119993377875" providerId="ADAL" clId="{4B2C10FB-3E6F-4CD3-AC5A-0C48C8DDD675}" dt="2024-11-28T05:19:14.411" v="2306" actId="1036"/>
          <ac:cxnSpMkLst>
            <pc:docMk/>
            <pc:sldMk cId="1044353484" sldId="2132737973"/>
            <ac:cxnSpMk id="38" creationId="{CCBAB8DE-C4AB-547C-9DE2-BD4AE6E2104A}"/>
          </ac:cxnSpMkLst>
        </pc:cxnChg>
        <pc:cxnChg chg="mod">
          <ac:chgData name="長縄 一輝" userId="6e752ca5-6cac-4d39-b3c0-119993377875" providerId="ADAL" clId="{4B2C10FB-3E6F-4CD3-AC5A-0C48C8DDD675}" dt="2024-11-28T05:19:14.411" v="2306" actId="1036"/>
          <ac:cxnSpMkLst>
            <pc:docMk/>
            <pc:sldMk cId="1044353484" sldId="2132737973"/>
            <ac:cxnSpMk id="39" creationId="{E2F489D6-34B4-C72F-2322-F15A6D530121}"/>
          </ac:cxnSpMkLst>
        </pc:cxnChg>
        <pc:cxnChg chg="mod">
          <ac:chgData name="長縄 一輝" userId="6e752ca5-6cac-4d39-b3c0-119993377875" providerId="ADAL" clId="{4B2C10FB-3E6F-4CD3-AC5A-0C48C8DDD675}" dt="2024-11-28T05:19:14.411" v="2306" actId="1036"/>
          <ac:cxnSpMkLst>
            <pc:docMk/>
            <pc:sldMk cId="1044353484" sldId="2132737973"/>
            <ac:cxnSpMk id="40" creationId="{67D6414C-E594-F3DB-5700-F50BA89631D2}"/>
          </ac:cxnSpMkLst>
        </pc:cxnChg>
        <pc:cxnChg chg="mod">
          <ac:chgData name="長縄 一輝" userId="6e752ca5-6cac-4d39-b3c0-119993377875" providerId="ADAL" clId="{4B2C10FB-3E6F-4CD3-AC5A-0C48C8DDD675}" dt="2024-11-28T05:19:14.411" v="2306" actId="1036"/>
          <ac:cxnSpMkLst>
            <pc:docMk/>
            <pc:sldMk cId="1044353484" sldId="2132737973"/>
            <ac:cxnSpMk id="41" creationId="{9BDABA54-07CD-2D76-8BF8-B137D9B8ED0A}"/>
          </ac:cxnSpMkLst>
        </pc:cxnChg>
      </pc:sldChg>
      <pc:sldChg chg="del">
        <pc:chgData name="長縄 一輝" userId="6e752ca5-6cac-4d39-b3c0-119993377875" providerId="ADAL" clId="{4B2C10FB-3E6F-4CD3-AC5A-0C48C8DDD675}" dt="2024-11-28T04:07:08.905" v="604" actId="47"/>
        <pc:sldMkLst>
          <pc:docMk/>
          <pc:sldMk cId="1556992705" sldId="2132737973"/>
        </pc:sldMkLst>
      </pc:sldChg>
      <pc:sldChg chg="addSp delSp modSp add del mod addAnim delAnim">
        <pc:chgData name="長縄 一輝" userId="6e752ca5-6cac-4d39-b3c0-119993377875" providerId="ADAL" clId="{4B2C10FB-3E6F-4CD3-AC5A-0C48C8DDD675}" dt="2024-11-28T04:59:23.371" v="2084" actId="47"/>
        <pc:sldMkLst>
          <pc:docMk/>
          <pc:sldMk cId="1055357520" sldId="2132737974"/>
        </pc:sldMkLst>
        <pc:spChg chg="mod">
          <ac:chgData name="長縄 一輝" userId="6e752ca5-6cac-4d39-b3c0-119993377875" providerId="ADAL" clId="{4B2C10FB-3E6F-4CD3-AC5A-0C48C8DDD675}" dt="2024-11-28T04:34:51.191" v="1311" actId="20577"/>
          <ac:spMkLst>
            <pc:docMk/>
            <pc:sldMk cId="1055357520" sldId="2132737974"/>
            <ac:spMk id="4" creationId="{C2C4C337-EEDA-C263-2609-4D1D23311BEF}"/>
          </ac:spMkLst>
        </pc:spChg>
        <pc:spChg chg="mod">
          <ac:chgData name="長縄 一輝" userId="6e752ca5-6cac-4d39-b3c0-119993377875" providerId="ADAL" clId="{4B2C10FB-3E6F-4CD3-AC5A-0C48C8DDD675}" dt="2024-11-28T04:55:57.909" v="2008" actId="1036"/>
          <ac:spMkLst>
            <pc:docMk/>
            <pc:sldMk cId="1055357520" sldId="2132737974"/>
            <ac:spMk id="18" creationId="{528AAFD0-83BC-9D44-0E94-734AE81C54A1}"/>
          </ac:spMkLst>
        </pc:spChg>
        <pc:spChg chg="mod">
          <ac:chgData name="長縄 一輝" userId="6e752ca5-6cac-4d39-b3c0-119993377875" providerId="ADAL" clId="{4B2C10FB-3E6F-4CD3-AC5A-0C48C8DDD675}" dt="2024-11-28T04:55:57.909" v="2008" actId="1036"/>
          <ac:spMkLst>
            <pc:docMk/>
            <pc:sldMk cId="1055357520" sldId="2132737974"/>
            <ac:spMk id="20" creationId="{FDBAD6DF-2D55-6068-106E-40C8F06AE3C3}"/>
          </ac:spMkLst>
        </pc:spChg>
        <pc:spChg chg="mod">
          <ac:chgData name="長縄 一輝" userId="6e752ca5-6cac-4d39-b3c0-119993377875" providerId="ADAL" clId="{4B2C10FB-3E6F-4CD3-AC5A-0C48C8DDD675}" dt="2024-11-28T04:55:57.909" v="2008" actId="1036"/>
          <ac:spMkLst>
            <pc:docMk/>
            <pc:sldMk cId="1055357520" sldId="2132737974"/>
            <ac:spMk id="21" creationId="{EE29F98E-A10C-2719-2B97-992628D0D31C}"/>
          </ac:spMkLst>
        </pc:spChg>
        <pc:spChg chg="mod">
          <ac:chgData name="長縄 一輝" userId="6e752ca5-6cac-4d39-b3c0-119993377875" providerId="ADAL" clId="{4B2C10FB-3E6F-4CD3-AC5A-0C48C8DDD675}" dt="2024-11-28T04:55:57.909" v="2008" actId="1036"/>
          <ac:spMkLst>
            <pc:docMk/>
            <pc:sldMk cId="1055357520" sldId="2132737974"/>
            <ac:spMk id="24" creationId="{AD2584F0-CBE2-EB66-8E47-04DCB587D9C4}"/>
          </ac:spMkLst>
        </pc:spChg>
        <pc:spChg chg="mod">
          <ac:chgData name="長縄 一輝" userId="6e752ca5-6cac-4d39-b3c0-119993377875" providerId="ADAL" clId="{4B2C10FB-3E6F-4CD3-AC5A-0C48C8DDD675}" dt="2024-11-28T04:55:57.909" v="2008" actId="1036"/>
          <ac:spMkLst>
            <pc:docMk/>
            <pc:sldMk cId="1055357520" sldId="2132737974"/>
            <ac:spMk id="25" creationId="{57350404-3076-9FB4-5A96-745347E566AA}"/>
          </ac:spMkLst>
        </pc:spChg>
        <pc:spChg chg="mod">
          <ac:chgData name="長縄 一輝" userId="6e752ca5-6cac-4d39-b3c0-119993377875" providerId="ADAL" clId="{4B2C10FB-3E6F-4CD3-AC5A-0C48C8DDD675}" dt="2024-11-28T04:55:57.909" v="2008" actId="1036"/>
          <ac:spMkLst>
            <pc:docMk/>
            <pc:sldMk cId="1055357520" sldId="2132737974"/>
            <ac:spMk id="26" creationId="{275B75B3-8295-D391-6EFE-391482337885}"/>
          </ac:spMkLst>
        </pc:spChg>
        <pc:spChg chg="mod">
          <ac:chgData name="長縄 一輝" userId="6e752ca5-6cac-4d39-b3c0-119993377875" providerId="ADAL" clId="{4B2C10FB-3E6F-4CD3-AC5A-0C48C8DDD675}" dt="2024-11-28T04:55:57.909" v="2008" actId="1036"/>
          <ac:spMkLst>
            <pc:docMk/>
            <pc:sldMk cId="1055357520" sldId="2132737974"/>
            <ac:spMk id="29" creationId="{2ED4314E-4BB7-A17E-F0C2-B824B37396BB}"/>
          </ac:spMkLst>
        </pc:spChg>
        <pc:spChg chg="mod">
          <ac:chgData name="長縄 一輝" userId="6e752ca5-6cac-4d39-b3c0-119993377875" providerId="ADAL" clId="{4B2C10FB-3E6F-4CD3-AC5A-0C48C8DDD675}" dt="2024-11-28T04:55:57.909" v="2008" actId="1036"/>
          <ac:spMkLst>
            <pc:docMk/>
            <pc:sldMk cId="1055357520" sldId="2132737974"/>
            <ac:spMk id="32" creationId="{4807F4AB-8457-35F7-B27A-ADC74DEF2AAB}"/>
          </ac:spMkLst>
        </pc:spChg>
        <pc:spChg chg="mod">
          <ac:chgData name="長縄 一輝" userId="6e752ca5-6cac-4d39-b3c0-119993377875" providerId="ADAL" clId="{4B2C10FB-3E6F-4CD3-AC5A-0C48C8DDD675}" dt="2024-11-28T04:55:57.909" v="2008" actId="1036"/>
          <ac:spMkLst>
            <pc:docMk/>
            <pc:sldMk cId="1055357520" sldId="2132737974"/>
            <ac:spMk id="33" creationId="{55609D28-DDDB-73C1-7050-DF4C1FA5D002}"/>
          </ac:spMkLst>
        </pc:spChg>
        <pc:spChg chg="mod">
          <ac:chgData name="長縄 一輝" userId="6e752ca5-6cac-4d39-b3c0-119993377875" providerId="ADAL" clId="{4B2C10FB-3E6F-4CD3-AC5A-0C48C8DDD675}" dt="2024-11-28T04:55:57.909" v="2008" actId="1036"/>
          <ac:spMkLst>
            <pc:docMk/>
            <pc:sldMk cId="1055357520" sldId="2132737974"/>
            <ac:spMk id="34" creationId="{781FBE0B-5124-D950-AC29-C3A9AF8289CC}"/>
          </ac:spMkLst>
        </pc:spChg>
        <pc:spChg chg="add del">
          <ac:chgData name="長縄 一輝" userId="6e752ca5-6cac-4d39-b3c0-119993377875" providerId="ADAL" clId="{4B2C10FB-3E6F-4CD3-AC5A-0C48C8DDD675}" dt="2024-11-28T04:55:59.272" v="2009" actId="478"/>
          <ac:spMkLst>
            <pc:docMk/>
            <pc:sldMk cId="1055357520" sldId="2132737974"/>
            <ac:spMk id="42" creationId="{3ECE5329-8432-EDDE-7923-5976937A098E}"/>
          </ac:spMkLst>
        </pc:spChg>
        <pc:spChg chg="mod">
          <ac:chgData name="長縄 一輝" userId="6e752ca5-6cac-4d39-b3c0-119993377875" providerId="ADAL" clId="{4B2C10FB-3E6F-4CD3-AC5A-0C48C8DDD675}" dt="2024-11-28T04:55:57.909" v="2008" actId="1036"/>
          <ac:spMkLst>
            <pc:docMk/>
            <pc:sldMk cId="1055357520" sldId="2132737974"/>
            <ac:spMk id="44" creationId="{0198DC13-5AFE-38E1-1D5B-35217599EF8C}"/>
          </ac:spMkLst>
        </pc:spChg>
        <pc:spChg chg="mod">
          <ac:chgData name="長縄 一輝" userId="6e752ca5-6cac-4d39-b3c0-119993377875" providerId="ADAL" clId="{4B2C10FB-3E6F-4CD3-AC5A-0C48C8DDD675}" dt="2024-11-28T04:55:57.909" v="2008" actId="1036"/>
          <ac:spMkLst>
            <pc:docMk/>
            <pc:sldMk cId="1055357520" sldId="2132737974"/>
            <ac:spMk id="46" creationId="{1A4056C7-D499-4347-5ED0-E01222C4605A}"/>
          </ac:spMkLst>
        </pc:spChg>
        <pc:cxnChg chg="mod">
          <ac:chgData name="長縄 一輝" userId="6e752ca5-6cac-4d39-b3c0-119993377875" providerId="ADAL" clId="{4B2C10FB-3E6F-4CD3-AC5A-0C48C8DDD675}" dt="2024-11-28T04:55:57.909" v="2008" actId="1036"/>
          <ac:cxnSpMkLst>
            <pc:docMk/>
            <pc:sldMk cId="1055357520" sldId="2132737974"/>
            <ac:cxnSpMk id="35" creationId="{0971E570-C8BA-1AFF-E49A-BA3AAA43B73C}"/>
          </ac:cxnSpMkLst>
        </pc:cxnChg>
        <pc:cxnChg chg="mod">
          <ac:chgData name="長縄 一輝" userId="6e752ca5-6cac-4d39-b3c0-119993377875" providerId="ADAL" clId="{4B2C10FB-3E6F-4CD3-AC5A-0C48C8DDD675}" dt="2024-11-28T04:55:57.909" v="2008" actId="1036"/>
          <ac:cxnSpMkLst>
            <pc:docMk/>
            <pc:sldMk cId="1055357520" sldId="2132737974"/>
            <ac:cxnSpMk id="37" creationId="{6580F79D-4A22-4A26-F13B-669B33F8AF67}"/>
          </ac:cxnSpMkLst>
        </pc:cxnChg>
        <pc:cxnChg chg="mod">
          <ac:chgData name="長縄 一輝" userId="6e752ca5-6cac-4d39-b3c0-119993377875" providerId="ADAL" clId="{4B2C10FB-3E6F-4CD3-AC5A-0C48C8DDD675}" dt="2024-11-28T04:55:57.909" v="2008" actId="1036"/>
          <ac:cxnSpMkLst>
            <pc:docMk/>
            <pc:sldMk cId="1055357520" sldId="2132737974"/>
            <ac:cxnSpMk id="38" creationId="{3B857DAC-D91D-F1DB-08D0-91D1C1453B56}"/>
          </ac:cxnSpMkLst>
        </pc:cxnChg>
        <pc:cxnChg chg="mod">
          <ac:chgData name="長縄 一輝" userId="6e752ca5-6cac-4d39-b3c0-119993377875" providerId="ADAL" clId="{4B2C10FB-3E6F-4CD3-AC5A-0C48C8DDD675}" dt="2024-11-28T04:55:57.909" v="2008" actId="1036"/>
          <ac:cxnSpMkLst>
            <pc:docMk/>
            <pc:sldMk cId="1055357520" sldId="2132737974"/>
            <ac:cxnSpMk id="39" creationId="{2F139FB1-0503-CD67-283D-7AB31CDB6D08}"/>
          </ac:cxnSpMkLst>
        </pc:cxnChg>
        <pc:cxnChg chg="mod">
          <ac:chgData name="長縄 一輝" userId="6e752ca5-6cac-4d39-b3c0-119993377875" providerId="ADAL" clId="{4B2C10FB-3E6F-4CD3-AC5A-0C48C8DDD675}" dt="2024-11-28T04:55:57.909" v="2008" actId="1036"/>
          <ac:cxnSpMkLst>
            <pc:docMk/>
            <pc:sldMk cId="1055357520" sldId="2132737974"/>
            <ac:cxnSpMk id="40" creationId="{0E92728E-146D-AF03-6DC1-35F92F2029A1}"/>
          </ac:cxnSpMkLst>
        </pc:cxnChg>
        <pc:cxnChg chg="mod">
          <ac:chgData name="長縄 一輝" userId="6e752ca5-6cac-4d39-b3c0-119993377875" providerId="ADAL" clId="{4B2C10FB-3E6F-4CD3-AC5A-0C48C8DDD675}" dt="2024-11-28T04:55:57.909" v="2008" actId="1036"/>
          <ac:cxnSpMkLst>
            <pc:docMk/>
            <pc:sldMk cId="1055357520" sldId="2132737974"/>
            <ac:cxnSpMk id="41" creationId="{83CFA3FE-1A26-7708-4ABC-5648C8C4F1DB}"/>
          </ac:cxnSpMkLst>
        </pc:cxnChg>
      </pc:sldChg>
      <pc:sldChg chg="addSp delSp modSp add mod delAnim">
        <pc:chgData name="長縄 一輝" userId="6e752ca5-6cac-4d39-b3c0-119993377875" providerId="ADAL" clId="{4B2C10FB-3E6F-4CD3-AC5A-0C48C8DDD675}" dt="2024-12-02T05:54:00.372" v="2332" actId="20577"/>
        <pc:sldMkLst>
          <pc:docMk/>
          <pc:sldMk cId="176434207" sldId="2132737975"/>
        </pc:sldMkLst>
        <pc:spChg chg="add del mod">
          <ac:chgData name="長縄 一輝" userId="6e752ca5-6cac-4d39-b3c0-119993377875" providerId="ADAL" clId="{4B2C10FB-3E6F-4CD3-AC5A-0C48C8DDD675}" dt="2024-11-28T05:18:39.475" v="2247" actId="478"/>
          <ac:spMkLst>
            <pc:docMk/>
            <pc:sldMk cId="176434207" sldId="2132737975"/>
            <ac:spMk id="2" creationId="{61AA9ED4-D8AA-0E2D-D49B-4791EB2FDFAA}"/>
          </ac:spMkLst>
        </pc:spChg>
        <pc:spChg chg="mod">
          <ac:chgData name="長縄 一輝" userId="6e752ca5-6cac-4d39-b3c0-119993377875" providerId="ADAL" clId="{4B2C10FB-3E6F-4CD3-AC5A-0C48C8DDD675}" dt="2024-12-02T05:54:00.372" v="2332" actId="20577"/>
          <ac:spMkLst>
            <pc:docMk/>
            <pc:sldMk cId="176434207" sldId="2132737975"/>
            <ac:spMk id="4" creationId="{02A5AF5D-263A-6C22-841F-BF319173955C}"/>
          </ac:spMkLst>
        </pc:spChg>
        <pc:spChg chg="add del mod">
          <ac:chgData name="長縄 一輝" userId="6e752ca5-6cac-4d39-b3c0-119993377875" providerId="ADAL" clId="{4B2C10FB-3E6F-4CD3-AC5A-0C48C8DDD675}" dt="2024-11-28T05:18:41.074" v="2248" actId="478"/>
          <ac:spMkLst>
            <pc:docMk/>
            <pc:sldMk cId="176434207" sldId="2132737975"/>
            <ac:spMk id="5" creationId="{295B5B03-58D6-3BDC-3171-8215C796DEE0}"/>
          </ac:spMkLst>
        </pc:spChg>
        <pc:spChg chg="mod">
          <ac:chgData name="長縄 一輝" userId="6e752ca5-6cac-4d39-b3c0-119993377875" providerId="ADAL" clId="{4B2C10FB-3E6F-4CD3-AC5A-0C48C8DDD675}" dt="2024-11-28T05:18:55.886" v="2277" actId="1035"/>
          <ac:spMkLst>
            <pc:docMk/>
            <pc:sldMk cId="176434207" sldId="2132737975"/>
            <ac:spMk id="18" creationId="{BFD1F757-BCBE-77E0-D793-67725EDB5C66}"/>
          </ac:spMkLst>
        </pc:spChg>
        <pc:spChg chg="mod">
          <ac:chgData name="長縄 一輝" userId="6e752ca5-6cac-4d39-b3c0-119993377875" providerId="ADAL" clId="{4B2C10FB-3E6F-4CD3-AC5A-0C48C8DDD675}" dt="2024-11-28T05:18:55.886" v="2277" actId="1035"/>
          <ac:spMkLst>
            <pc:docMk/>
            <pc:sldMk cId="176434207" sldId="2132737975"/>
            <ac:spMk id="20" creationId="{1D4BDF2D-AD09-103E-203C-41EC8B7B1498}"/>
          </ac:spMkLst>
        </pc:spChg>
        <pc:spChg chg="mod">
          <ac:chgData name="長縄 一輝" userId="6e752ca5-6cac-4d39-b3c0-119993377875" providerId="ADAL" clId="{4B2C10FB-3E6F-4CD3-AC5A-0C48C8DDD675}" dt="2024-11-28T05:18:55.886" v="2277" actId="1035"/>
          <ac:spMkLst>
            <pc:docMk/>
            <pc:sldMk cId="176434207" sldId="2132737975"/>
            <ac:spMk id="21" creationId="{0458E723-12F9-0412-F958-9650BDCC1E48}"/>
          </ac:spMkLst>
        </pc:spChg>
        <pc:spChg chg="mod">
          <ac:chgData name="長縄 一輝" userId="6e752ca5-6cac-4d39-b3c0-119993377875" providerId="ADAL" clId="{4B2C10FB-3E6F-4CD3-AC5A-0C48C8DDD675}" dt="2024-11-28T05:18:55.886" v="2277" actId="1035"/>
          <ac:spMkLst>
            <pc:docMk/>
            <pc:sldMk cId="176434207" sldId="2132737975"/>
            <ac:spMk id="24" creationId="{B00E06AE-410B-5095-DA73-28F249118EED}"/>
          </ac:spMkLst>
        </pc:spChg>
        <pc:spChg chg="mod">
          <ac:chgData name="長縄 一輝" userId="6e752ca5-6cac-4d39-b3c0-119993377875" providerId="ADAL" clId="{4B2C10FB-3E6F-4CD3-AC5A-0C48C8DDD675}" dt="2024-11-28T05:18:55.886" v="2277" actId="1035"/>
          <ac:spMkLst>
            <pc:docMk/>
            <pc:sldMk cId="176434207" sldId="2132737975"/>
            <ac:spMk id="25" creationId="{537E1F8C-FD99-636F-9C67-C7F10F7C47B4}"/>
          </ac:spMkLst>
        </pc:spChg>
        <pc:spChg chg="mod">
          <ac:chgData name="長縄 一輝" userId="6e752ca5-6cac-4d39-b3c0-119993377875" providerId="ADAL" clId="{4B2C10FB-3E6F-4CD3-AC5A-0C48C8DDD675}" dt="2024-11-28T05:18:55.886" v="2277" actId="1035"/>
          <ac:spMkLst>
            <pc:docMk/>
            <pc:sldMk cId="176434207" sldId="2132737975"/>
            <ac:spMk id="26" creationId="{27BE4D8A-12EB-497A-8CB5-0ED3EB2DBF2D}"/>
          </ac:spMkLst>
        </pc:spChg>
        <pc:spChg chg="mod">
          <ac:chgData name="長縄 一輝" userId="6e752ca5-6cac-4d39-b3c0-119993377875" providerId="ADAL" clId="{4B2C10FB-3E6F-4CD3-AC5A-0C48C8DDD675}" dt="2024-11-28T05:18:55.886" v="2277" actId="1035"/>
          <ac:spMkLst>
            <pc:docMk/>
            <pc:sldMk cId="176434207" sldId="2132737975"/>
            <ac:spMk id="29" creationId="{14FDACB0-1881-76D5-D985-B1A8EE048349}"/>
          </ac:spMkLst>
        </pc:spChg>
        <pc:spChg chg="mod">
          <ac:chgData name="長縄 一輝" userId="6e752ca5-6cac-4d39-b3c0-119993377875" providerId="ADAL" clId="{4B2C10FB-3E6F-4CD3-AC5A-0C48C8DDD675}" dt="2024-11-28T05:18:55.886" v="2277" actId="1035"/>
          <ac:spMkLst>
            <pc:docMk/>
            <pc:sldMk cId="176434207" sldId="2132737975"/>
            <ac:spMk id="32" creationId="{A9C2C74A-9A4F-26F7-FD45-4DC116CE9C4C}"/>
          </ac:spMkLst>
        </pc:spChg>
        <pc:spChg chg="mod">
          <ac:chgData name="長縄 一輝" userId="6e752ca5-6cac-4d39-b3c0-119993377875" providerId="ADAL" clId="{4B2C10FB-3E6F-4CD3-AC5A-0C48C8DDD675}" dt="2024-11-28T05:18:55.886" v="2277" actId="1035"/>
          <ac:spMkLst>
            <pc:docMk/>
            <pc:sldMk cId="176434207" sldId="2132737975"/>
            <ac:spMk id="33" creationId="{25679429-CACE-8DF7-02F0-4CF93AE8E289}"/>
          </ac:spMkLst>
        </pc:spChg>
        <pc:spChg chg="mod">
          <ac:chgData name="長縄 一輝" userId="6e752ca5-6cac-4d39-b3c0-119993377875" providerId="ADAL" clId="{4B2C10FB-3E6F-4CD3-AC5A-0C48C8DDD675}" dt="2024-11-28T05:18:55.886" v="2277" actId="1035"/>
          <ac:spMkLst>
            <pc:docMk/>
            <pc:sldMk cId="176434207" sldId="2132737975"/>
            <ac:spMk id="34" creationId="{90A673C3-EE21-9429-7613-BDA70023522C}"/>
          </ac:spMkLst>
        </pc:spChg>
        <pc:spChg chg="del">
          <ac:chgData name="長縄 一輝" userId="6e752ca5-6cac-4d39-b3c0-119993377875" providerId="ADAL" clId="{4B2C10FB-3E6F-4CD3-AC5A-0C48C8DDD675}" dt="2024-11-28T04:56:25.258" v="2012" actId="478"/>
          <ac:spMkLst>
            <pc:docMk/>
            <pc:sldMk cId="176434207" sldId="2132737975"/>
            <ac:spMk id="42" creationId="{8687A344-6FCD-9DF7-FB3E-10AA2A434C09}"/>
          </ac:spMkLst>
        </pc:spChg>
        <pc:spChg chg="mod">
          <ac:chgData name="長縄 一輝" userId="6e752ca5-6cac-4d39-b3c0-119993377875" providerId="ADAL" clId="{4B2C10FB-3E6F-4CD3-AC5A-0C48C8DDD675}" dt="2024-11-28T05:18:55.886" v="2277" actId="1035"/>
          <ac:spMkLst>
            <pc:docMk/>
            <pc:sldMk cId="176434207" sldId="2132737975"/>
            <ac:spMk id="44" creationId="{40CE25A8-F1B0-2EDF-9066-2480D2036D70}"/>
          </ac:spMkLst>
        </pc:spChg>
        <pc:spChg chg="mod">
          <ac:chgData name="長縄 一輝" userId="6e752ca5-6cac-4d39-b3c0-119993377875" providerId="ADAL" clId="{4B2C10FB-3E6F-4CD3-AC5A-0C48C8DDD675}" dt="2024-11-28T05:18:55.886" v="2277" actId="1035"/>
          <ac:spMkLst>
            <pc:docMk/>
            <pc:sldMk cId="176434207" sldId="2132737975"/>
            <ac:spMk id="46" creationId="{16EA181A-B8AE-FF0F-0333-37DBBA2FC28D}"/>
          </ac:spMkLst>
        </pc:spChg>
        <pc:cxnChg chg="mod">
          <ac:chgData name="長縄 一輝" userId="6e752ca5-6cac-4d39-b3c0-119993377875" providerId="ADAL" clId="{4B2C10FB-3E6F-4CD3-AC5A-0C48C8DDD675}" dt="2024-11-28T05:18:55.886" v="2277" actId="1035"/>
          <ac:cxnSpMkLst>
            <pc:docMk/>
            <pc:sldMk cId="176434207" sldId="2132737975"/>
            <ac:cxnSpMk id="35" creationId="{EE3BA858-D8C1-3FE6-9F5B-643C358811D5}"/>
          </ac:cxnSpMkLst>
        </pc:cxnChg>
        <pc:cxnChg chg="mod">
          <ac:chgData name="長縄 一輝" userId="6e752ca5-6cac-4d39-b3c0-119993377875" providerId="ADAL" clId="{4B2C10FB-3E6F-4CD3-AC5A-0C48C8DDD675}" dt="2024-11-28T05:18:55.886" v="2277" actId="1035"/>
          <ac:cxnSpMkLst>
            <pc:docMk/>
            <pc:sldMk cId="176434207" sldId="2132737975"/>
            <ac:cxnSpMk id="37" creationId="{3B0D6F5C-DDFA-63A7-EC4B-5608A017FCD2}"/>
          </ac:cxnSpMkLst>
        </pc:cxnChg>
        <pc:cxnChg chg="mod">
          <ac:chgData name="長縄 一輝" userId="6e752ca5-6cac-4d39-b3c0-119993377875" providerId="ADAL" clId="{4B2C10FB-3E6F-4CD3-AC5A-0C48C8DDD675}" dt="2024-11-28T05:18:55.886" v="2277" actId="1035"/>
          <ac:cxnSpMkLst>
            <pc:docMk/>
            <pc:sldMk cId="176434207" sldId="2132737975"/>
            <ac:cxnSpMk id="38" creationId="{24E27A79-95AF-40DB-E1B5-88BEF1E29A1E}"/>
          </ac:cxnSpMkLst>
        </pc:cxnChg>
        <pc:cxnChg chg="mod">
          <ac:chgData name="長縄 一輝" userId="6e752ca5-6cac-4d39-b3c0-119993377875" providerId="ADAL" clId="{4B2C10FB-3E6F-4CD3-AC5A-0C48C8DDD675}" dt="2024-11-28T05:18:55.886" v="2277" actId="1035"/>
          <ac:cxnSpMkLst>
            <pc:docMk/>
            <pc:sldMk cId="176434207" sldId="2132737975"/>
            <ac:cxnSpMk id="39" creationId="{E248FBBF-16AF-56F1-CF7D-16A603547FA0}"/>
          </ac:cxnSpMkLst>
        </pc:cxnChg>
        <pc:cxnChg chg="mod">
          <ac:chgData name="長縄 一輝" userId="6e752ca5-6cac-4d39-b3c0-119993377875" providerId="ADAL" clId="{4B2C10FB-3E6F-4CD3-AC5A-0C48C8DDD675}" dt="2024-11-28T05:18:55.886" v="2277" actId="1035"/>
          <ac:cxnSpMkLst>
            <pc:docMk/>
            <pc:sldMk cId="176434207" sldId="2132737975"/>
            <ac:cxnSpMk id="40" creationId="{928C4130-D405-C90D-CF79-6314514C794D}"/>
          </ac:cxnSpMkLst>
        </pc:cxnChg>
        <pc:cxnChg chg="mod">
          <ac:chgData name="長縄 一輝" userId="6e752ca5-6cac-4d39-b3c0-119993377875" providerId="ADAL" clId="{4B2C10FB-3E6F-4CD3-AC5A-0C48C8DDD675}" dt="2024-11-28T05:18:55.886" v="2277" actId="1035"/>
          <ac:cxnSpMkLst>
            <pc:docMk/>
            <pc:sldMk cId="176434207" sldId="2132737975"/>
            <ac:cxnSpMk id="41" creationId="{9C6024EF-F6CE-F0BC-1F8C-1A16B9C57B44}"/>
          </ac:cxnSpMkLst>
        </pc:cxnChg>
      </pc:sldChg>
      <pc:sldChg chg="add del">
        <pc:chgData name="長縄 一輝" userId="6e752ca5-6cac-4d39-b3c0-119993377875" providerId="ADAL" clId="{4B2C10FB-3E6F-4CD3-AC5A-0C48C8DDD675}" dt="2024-11-28T04:56:01.470" v="2010"/>
        <pc:sldMkLst>
          <pc:docMk/>
          <pc:sldMk cId="229270536" sldId="2132737975"/>
        </pc:sldMkLst>
      </pc:sldChg>
      <pc:sldChg chg="addSp delSp modSp add mod ord">
        <pc:chgData name="長縄 一輝" userId="6e752ca5-6cac-4d39-b3c0-119993377875" providerId="ADAL" clId="{4B2C10FB-3E6F-4CD3-AC5A-0C48C8DDD675}" dt="2024-12-02T05:57:48.867" v="2418" actId="20577"/>
        <pc:sldMkLst>
          <pc:docMk/>
          <pc:sldMk cId="472770685" sldId="2132737976"/>
        </pc:sldMkLst>
        <pc:spChg chg="add del">
          <ac:chgData name="長縄 一輝" userId="6e752ca5-6cac-4d39-b3c0-119993377875" providerId="ADAL" clId="{4B2C10FB-3E6F-4CD3-AC5A-0C48C8DDD675}" dt="2024-12-02T05:57:38.088" v="2414" actId="22"/>
          <ac:spMkLst>
            <pc:docMk/>
            <pc:sldMk cId="472770685" sldId="2132737976"/>
            <ac:spMk id="4" creationId="{9F1741BC-20CD-F65B-253E-0A0145D763AA}"/>
          </ac:spMkLst>
        </pc:spChg>
        <pc:spChg chg="mod">
          <ac:chgData name="長縄 一輝" userId="6e752ca5-6cac-4d39-b3c0-119993377875" providerId="ADAL" clId="{4B2C10FB-3E6F-4CD3-AC5A-0C48C8DDD675}" dt="2024-12-02T05:57:48.867" v="2418" actId="20577"/>
          <ac:spMkLst>
            <pc:docMk/>
            <pc:sldMk cId="472770685" sldId="2132737976"/>
            <ac:spMk id="6" creationId="{FFA08AE9-A230-75D0-FAA4-7A8731AC2123}"/>
          </ac:spMkLst>
        </pc:spChg>
      </pc:sldChg>
      <pc:sldChg chg="del">
        <pc:chgData name="長縄 一輝" userId="6e752ca5-6cac-4d39-b3c0-119993377875" providerId="ADAL" clId="{4B2C10FB-3E6F-4CD3-AC5A-0C48C8DDD675}" dt="2024-11-28T02:52:51.451" v="64" actId="47"/>
        <pc:sldMkLst>
          <pc:docMk/>
          <pc:sldMk cId="3017580543" sldId="2132737976"/>
        </pc:sldMkLst>
      </pc:sldChg>
      <pc:sldChg chg="del">
        <pc:chgData name="長縄 一輝" userId="6e752ca5-6cac-4d39-b3c0-119993377875" providerId="ADAL" clId="{4B2C10FB-3E6F-4CD3-AC5A-0C48C8DDD675}" dt="2024-11-28T02:44:59.332" v="19" actId="47"/>
        <pc:sldMkLst>
          <pc:docMk/>
          <pc:sldMk cId="1671397213" sldId="2132737978"/>
        </pc:sldMkLst>
      </pc:sldChg>
      <pc:sldMasterChg chg="add del addSldLayout delSldLayout">
        <pc:chgData name="長縄 一輝" userId="6e752ca5-6cac-4d39-b3c0-119993377875" providerId="ADAL" clId="{4B2C10FB-3E6F-4CD3-AC5A-0C48C8DDD675}" dt="2024-11-28T02:46:33.526" v="21" actId="47"/>
        <pc:sldMasterMkLst>
          <pc:docMk/>
          <pc:sldMasterMk cId="1799378257" sldId="2147483672"/>
        </pc:sldMasterMkLst>
        <pc:sldLayoutChg chg="add del">
          <pc:chgData name="長縄 一輝" userId="6e752ca5-6cac-4d39-b3c0-119993377875" providerId="ADAL" clId="{4B2C10FB-3E6F-4CD3-AC5A-0C48C8DDD675}" dt="2024-11-28T02:46:33.526" v="21" actId="47"/>
          <pc:sldLayoutMkLst>
            <pc:docMk/>
            <pc:sldMasterMk cId="1799378257" sldId="2147483672"/>
            <pc:sldLayoutMk cId="0" sldId="2147483673"/>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0" sldId="2147483675"/>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0" sldId="2147483679"/>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2572122574" sldId="2147483685"/>
          </pc:sldLayoutMkLst>
        </pc:sldLayoutChg>
        <pc:sldLayoutChg chg="add del">
          <pc:chgData name="長縄 一輝" userId="6e752ca5-6cac-4d39-b3c0-119993377875" providerId="ADAL" clId="{4B2C10FB-3E6F-4CD3-AC5A-0C48C8DDD675}" dt="2024-11-28T02:44:03.147" v="17" actId="47"/>
          <pc:sldLayoutMkLst>
            <pc:docMk/>
            <pc:sldMasterMk cId="1799378257" sldId="2147483672"/>
            <pc:sldLayoutMk cId="2925568900" sldId="2147483726"/>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3918290211" sldId="2147483727"/>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594829289" sldId="2147483731"/>
          </pc:sldLayoutMkLst>
        </pc:sldLayoutChg>
        <pc:sldLayoutChg chg="add del">
          <pc:chgData name="長縄 一輝" userId="6e752ca5-6cac-4d39-b3c0-119993377875" providerId="ADAL" clId="{4B2C10FB-3E6F-4CD3-AC5A-0C48C8DDD675}" dt="2024-11-28T02:46:33.526" v="21" actId="47"/>
          <pc:sldLayoutMkLst>
            <pc:docMk/>
            <pc:sldMasterMk cId="1799378257" sldId="2147483672"/>
            <pc:sldLayoutMk cId="3949066432" sldId="2147483732"/>
          </pc:sldLayoutMkLst>
        </pc:sldLayoutChg>
        <pc:sldLayoutChg chg="add del">
          <pc:chgData name="長縄 一輝" userId="6e752ca5-6cac-4d39-b3c0-119993377875" providerId="ADAL" clId="{4B2C10FB-3E6F-4CD3-AC5A-0C48C8DDD675}" dt="2024-11-28T02:44:02.251" v="16" actId="47"/>
          <pc:sldLayoutMkLst>
            <pc:docMk/>
            <pc:sldMasterMk cId="1799378257" sldId="2147483672"/>
            <pc:sldLayoutMk cId="737372912" sldId="2147483733"/>
          </pc:sldLayoutMkLst>
        </pc:sldLayoutChg>
      </pc:sldMasterChg>
      <pc:sldMasterChg chg="delSldLayout">
        <pc:chgData name="長縄 一輝" userId="6e752ca5-6cac-4d39-b3c0-119993377875" providerId="ADAL" clId="{4B2C10FB-3E6F-4CD3-AC5A-0C48C8DDD675}" dt="2024-11-28T05:06:32.117" v="2127" actId="47"/>
        <pc:sldMasterMkLst>
          <pc:docMk/>
          <pc:sldMasterMk cId="3538977978" sldId="2147483735"/>
        </pc:sldMasterMkLst>
        <pc:sldLayoutChg chg="del">
          <pc:chgData name="長縄 一輝" userId="6e752ca5-6cac-4d39-b3c0-119993377875" providerId="ADAL" clId="{4B2C10FB-3E6F-4CD3-AC5A-0C48C8DDD675}" dt="2024-11-28T02:46:07.254" v="20" actId="47"/>
          <pc:sldLayoutMkLst>
            <pc:docMk/>
            <pc:sldMasterMk cId="3538977978" sldId="2147483735"/>
            <pc:sldLayoutMk cId="70113312" sldId="2147483760"/>
          </pc:sldLayoutMkLst>
        </pc:sldLayoutChg>
        <pc:sldLayoutChg chg="del">
          <pc:chgData name="長縄 一輝" userId="6e752ca5-6cac-4d39-b3c0-119993377875" providerId="ADAL" clId="{4B2C10FB-3E6F-4CD3-AC5A-0C48C8DDD675}" dt="2024-11-28T05:06:32.117" v="2127" actId="47"/>
          <pc:sldLayoutMkLst>
            <pc:docMk/>
            <pc:sldMasterMk cId="3538977978" sldId="2147483735"/>
            <pc:sldLayoutMk cId="2407689120" sldId="2147483769"/>
          </pc:sldLayoutMkLst>
        </pc:sldLayoutChg>
      </pc:sldMasterChg>
    </pc:docChg>
  </pc:docChgLst>
  <pc:docChgLst>
    <pc:chgData name="長縄 一輝" userId="S::i.naganawa@regacy-innovation.com::6e752ca5-6cac-4d39-b3c0-119993377875" providerId="AD" clId="Web-{EA6A0D5E-7E41-70E9-9D6B-D09DEA715B47}"/>
    <pc:docChg chg="modSld">
      <pc:chgData name="長縄 一輝" userId="S::i.naganawa@regacy-innovation.com::6e752ca5-6cac-4d39-b3c0-119993377875" providerId="AD" clId="Web-{EA6A0D5E-7E41-70E9-9D6B-D09DEA715B47}" dt="2025-01-22T08:57:13.895" v="151" actId="20577"/>
      <pc:docMkLst>
        <pc:docMk/>
      </pc:docMkLst>
      <pc:sldChg chg="addSp modSp">
        <pc:chgData name="長縄 一輝" userId="S::i.naganawa@regacy-innovation.com::6e752ca5-6cac-4d39-b3c0-119993377875" providerId="AD" clId="Web-{EA6A0D5E-7E41-70E9-9D6B-D09DEA715B47}" dt="2025-01-22T08:57:13.895" v="151" actId="20577"/>
        <pc:sldMkLst>
          <pc:docMk/>
          <pc:sldMk cId="176434207" sldId="2132737975"/>
        </pc:sldMkLst>
        <pc:spChg chg="add mod">
          <ac:chgData name="長縄 一輝" userId="S::i.naganawa@regacy-innovation.com::6e752ca5-6cac-4d39-b3c0-119993377875" providerId="AD" clId="Web-{EA6A0D5E-7E41-70E9-9D6B-D09DEA715B47}" dt="2025-01-22T08:57:13.895" v="151" actId="20577"/>
          <ac:spMkLst>
            <pc:docMk/>
            <pc:sldMk cId="176434207" sldId="2132737975"/>
            <ac:spMk id="5" creationId="{BC21C2E5-CE2A-7AC8-38B3-6C2C38ECAD25}"/>
          </ac:spMkLst>
        </pc:spChg>
      </pc:sldChg>
    </pc:docChg>
  </pc:docChgLst>
  <pc:docChgLst>
    <pc:chgData name="長縄 一輝" userId="S::i.naganawa@regacy-innovation.com::6e752ca5-6cac-4d39-b3c0-119993377875" providerId="AD" clId="Web-{774C53B1-6426-37BA-633F-CF1117919060}"/>
    <pc:docChg chg="modSld">
      <pc:chgData name="長縄 一輝" userId="S::i.naganawa@regacy-innovation.com::6e752ca5-6cac-4d39-b3c0-119993377875" providerId="AD" clId="Web-{774C53B1-6426-37BA-633F-CF1117919060}" dt="2025-01-22T09:25:27.495" v="8" actId="20577"/>
      <pc:docMkLst>
        <pc:docMk/>
      </pc:docMkLst>
      <pc:sldChg chg="modSp">
        <pc:chgData name="長縄 一輝" userId="S::i.naganawa@regacy-innovation.com::6e752ca5-6cac-4d39-b3c0-119993377875" providerId="AD" clId="Web-{774C53B1-6426-37BA-633F-CF1117919060}" dt="2025-01-22T09:25:27.495" v="8" actId="20577"/>
        <pc:sldMkLst>
          <pc:docMk/>
          <pc:sldMk cId="176434207" sldId="2132737975"/>
        </pc:sldMkLst>
        <pc:spChg chg="mod">
          <ac:chgData name="長縄 一輝" userId="S::i.naganawa@regacy-innovation.com::6e752ca5-6cac-4d39-b3c0-119993377875" providerId="AD" clId="Web-{774C53B1-6426-37BA-633F-CF1117919060}" dt="2025-01-22T09:25:27.495" v="8" actId="20577"/>
          <ac:spMkLst>
            <pc:docMk/>
            <pc:sldMk cId="176434207" sldId="2132737975"/>
            <ac:spMk id="5" creationId="{BC21C2E5-CE2A-7AC8-38B3-6C2C38ECAD25}"/>
          </ac:spMkLst>
        </pc:spChg>
      </pc:sldChg>
    </pc:docChg>
  </pc:docChgLst>
  <pc:docChgLst>
    <pc:chgData name="元崎 直美" userId="94a5ddba-def4-4e2a-b01c-b54bd41ed526" providerId="ADAL" clId="{F345F22A-4AF6-7D4A-AF0D-2F967ACE1F26}"/>
    <pc:docChg chg="undo custSel delSld modSld modSection">
      <pc:chgData name="元崎 直美" userId="94a5ddba-def4-4e2a-b01c-b54bd41ed526" providerId="ADAL" clId="{F345F22A-4AF6-7D4A-AF0D-2F967ACE1F26}" dt="2025-01-24T02:01:17.508" v="401" actId="20577"/>
      <pc:docMkLst>
        <pc:docMk/>
      </pc:docMkLst>
      <pc:sldChg chg="del">
        <pc:chgData name="元崎 直美" userId="94a5ddba-def4-4e2a-b01c-b54bd41ed526" providerId="ADAL" clId="{F345F22A-4AF6-7D4A-AF0D-2F967ACE1F26}" dt="2025-01-24T02:00:44.374" v="396" actId="2696"/>
        <pc:sldMkLst>
          <pc:docMk/>
          <pc:sldMk cId="1608579290" sldId="380"/>
        </pc:sldMkLst>
      </pc:sldChg>
      <pc:sldChg chg="modSp mod">
        <pc:chgData name="元崎 直美" userId="94a5ddba-def4-4e2a-b01c-b54bd41ed526" providerId="ADAL" clId="{F345F22A-4AF6-7D4A-AF0D-2F967ACE1F26}" dt="2025-01-24T02:01:17.508" v="401" actId="20577"/>
        <pc:sldMkLst>
          <pc:docMk/>
          <pc:sldMk cId="179574183" sldId="22033"/>
        </pc:sldMkLst>
        <pc:spChg chg="mod">
          <ac:chgData name="元崎 直美" userId="94a5ddba-def4-4e2a-b01c-b54bd41ed526" providerId="ADAL" clId="{F345F22A-4AF6-7D4A-AF0D-2F967ACE1F26}" dt="2025-01-24T02:01:17.508" v="401" actId="20577"/>
          <ac:spMkLst>
            <pc:docMk/>
            <pc:sldMk cId="179574183" sldId="22033"/>
            <ac:spMk id="8" creationId="{EEFBC867-A2BA-44ED-5509-038814CDC46D}"/>
          </ac:spMkLst>
        </pc:spChg>
      </pc:sldChg>
      <pc:sldChg chg="del">
        <pc:chgData name="元崎 直美" userId="94a5ddba-def4-4e2a-b01c-b54bd41ed526" providerId="ADAL" clId="{F345F22A-4AF6-7D4A-AF0D-2F967ACE1F26}" dt="2025-01-24T02:00:45.088" v="398" actId="2696"/>
        <pc:sldMkLst>
          <pc:docMk/>
          <pc:sldMk cId="1544090745" sldId="2132737834"/>
        </pc:sldMkLst>
      </pc:sldChg>
      <pc:sldChg chg="addSp modSp mod">
        <pc:chgData name="元崎 直美" userId="94a5ddba-def4-4e2a-b01c-b54bd41ed526" providerId="ADAL" clId="{F345F22A-4AF6-7D4A-AF0D-2F967ACE1F26}" dt="2025-01-24T02:00:34.743" v="393"/>
        <pc:sldMkLst>
          <pc:docMk/>
          <pc:sldMk cId="1044353484" sldId="2132737973"/>
        </pc:sldMkLst>
        <pc:spChg chg="add mod">
          <ac:chgData name="元崎 直美" userId="94a5ddba-def4-4e2a-b01c-b54bd41ed526" providerId="ADAL" clId="{F345F22A-4AF6-7D4A-AF0D-2F967ACE1F26}" dt="2025-01-24T02:00:34.743" v="393"/>
          <ac:spMkLst>
            <pc:docMk/>
            <pc:sldMk cId="1044353484" sldId="2132737973"/>
            <ac:spMk id="2" creationId="{8371B7C5-C525-3F01-C340-073D501EE2B2}"/>
          </ac:spMkLst>
        </pc:spChg>
        <pc:spChg chg="mod">
          <ac:chgData name="元崎 直美" userId="94a5ddba-def4-4e2a-b01c-b54bd41ed526" providerId="ADAL" clId="{F345F22A-4AF6-7D4A-AF0D-2F967ACE1F26}" dt="2025-01-24T01:11:52.845" v="392" actId="20577"/>
          <ac:spMkLst>
            <pc:docMk/>
            <pc:sldMk cId="1044353484" sldId="2132737973"/>
            <ac:spMk id="4" creationId="{AE172B0E-EFB8-F4CF-AFF1-5B3A8CE87BEE}"/>
          </ac:spMkLst>
        </pc:spChg>
        <pc:spChg chg="mod">
          <ac:chgData name="元崎 直美" userId="94a5ddba-def4-4e2a-b01c-b54bd41ed526" providerId="ADAL" clId="{F345F22A-4AF6-7D4A-AF0D-2F967ACE1F26}" dt="2025-01-18T05:45:35.367" v="188" actId="20577"/>
          <ac:spMkLst>
            <pc:docMk/>
            <pc:sldMk cId="1044353484" sldId="2132737973"/>
            <ac:spMk id="6" creationId="{B5244F6F-1E2C-C195-1E96-493B2C8EB1D7}"/>
          </ac:spMkLst>
        </pc:spChg>
        <pc:spChg chg="mod">
          <ac:chgData name="元崎 直美" userId="94a5ddba-def4-4e2a-b01c-b54bd41ed526" providerId="ADAL" clId="{F345F22A-4AF6-7D4A-AF0D-2F967ACE1F26}" dt="2025-01-23T01:07:20.611" v="387" actId="20577"/>
          <ac:spMkLst>
            <pc:docMk/>
            <pc:sldMk cId="1044353484" sldId="2132737973"/>
            <ac:spMk id="7" creationId="{D46632CF-CF36-D205-1629-910C9FCE17E5}"/>
          </ac:spMkLst>
        </pc:spChg>
      </pc:sldChg>
      <pc:sldChg chg="delSp modSp mod">
        <pc:chgData name="元崎 直美" userId="94a5ddba-def4-4e2a-b01c-b54bd41ed526" providerId="ADAL" clId="{F345F22A-4AF6-7D4A-AF0D-2F967ACE1F26}" dt="2025-01-23T01:07:39.384" v="389" actId="478"/>
        <pc:sldMkLst>
          <pc:docMk/>
          <pc:sldMk cId="176434207" sldId="2132737975"/>
        </pc:sldMkLst>
        <pc:spChg chg="del mod">
          <ac:chgData name="元崎 直美" userId="94a5ddba-def4-4e2a-b01c-b54bd41ed526" providerId="ADAL" clId="{F345F22A-4AF6-7D4A-AF0D-2F967ACE1F26}" dt="2025-01-23T01:07:39.384" v="389" actId="478"/>
          <ac:spMkLst>
            <pc:docMk/>
            <pc:sldMk cId="176434207" sldId="2132737975"/>
            <ac:spMk id="5" creationId="{BC21C2E5-CE2A-7AC8-38B3-6C2C38ECAD25}"/>
          </ac:spMkLst>
        </pc:spChg>
        <pc:spChg chg="mod">
          <ac:chgData name="元崎 直美" userId="94a5ddba-def4-4e2a-b01c-b54bd41ed526" providerId="ADAL" clId="{F345F22A-4AF6-7D4A-AF0D-2F967ACE1F26}" dt="2025-01-23T01:03:51.681" v="260" actId="404"/>
          <ac:spMkLst>
            <pc:docMk/>
            <pc:sldMk cId="176434207" sldId="2132737975"/>
            <ac:spMk id="24" creationId="{B00E06AE-410B-5095-DA73-28F249118EED}"/>
          </ac:spMkLst>
        </pc:spChg>
        <pc:spChg chg="mod">
          <ac:chgData name="元崎 直美" userId="94a5ddba-def4-4e2a-b01c-b54bd41ed526" providerId="ADAL" clId="{F345F22A-4AF6-7D4A-AF0D-2F967ACE1F26}" dt="2025-01-23T01:03:44.371" v="253" actId="20577"/>
          <ac:spMkLst>
            <pc:docMk/>
            <pc:sldMk cId="176434207" sldId="2132737975"/>
            <ac:spMk id="26" creationId="{27BE4D8A-12EB-497A-8CB5-0ED3EB2DBF2D}"/>
          </ac:spMkLst>
        </pc:spChg>
        <pc:spChg chg="mod">
          <ac:chgData name="元崎 直美" userId="94a5ddba-def4-4e2a-b01c-b54bd41ed526" providerId="ADAL" clId="{F345F22A-4AF6-7D4A-AF0D-2F967ACE1F26}" dt="2025-01-23T01:03:42.519" v="252" actId="20577"/>
          <ac:spMkLst>
            <pc:docMk/>
            <pc:sldMk cId="176434207" sldId="2132737975"/>
            <ac:spMk id="29" creationId="{14FDACB0-1881-76D5-D985-B1A8EE048349}"/>
          </ac:spMkLst>
        </pc:spChg>
        <pc:spChg chg="mod">
          <ac:chgData name="元崎 直美" userId="94a5ddba-def4-4e2a-b01c-b54bd41ed526" providerId="ADAL" clId="{F345F22A-4AF6-7D4A-AF0D-2F967ACE1F26}" dt="2025-01-23T01:06:46.591" v="345" actId="20577"/>
          <ac:spMkLst>
            <pc:docMk/>
            <pc:sldMk cId="176434207" sldId="2132737975"/>
            <ac:spMk id="77" creationId="{ACC500E9-A8C0-4C45-A249-2BF551447ADF}"/>
          </ac:spMkLst>
        </pc:spChg>
      </pc:sldChg>
      <pc:sldChg chg="del">
        <pc:chgData name="元崎 直美" userId="94a5ddba-def4-4e2a-b01c-b54bd41ed526" providerId="ADAL" clId="{F345F22A-4AF6-7D4A-AF0D-2F967ACE1F26}" dt="2025-01-24T02:00:42.749" v="395" actId="2696"/>
        <pc:sldMkLst>
          <pc:docMk/>
          <pc:sldMk cId="472770685" sldId="2132737976"/>
        </pc:sldMkLst>
      </pc:sldChg>
      <pc:sldChg chg="del">
        <pc:chgData name="元崎 直美" userId="94a5ddba-def4-4e2a-b01c-b54bd41ed526" providerId="ADAL" clId="{F345F22A-4AF6-7D4A-AF0D-2F967ACE1F26}" dt="2025-01-24T02:00:39.799" v="394" actId="2696"/>
        <pc:sldMkLst>
          <pc:docMk/>
          <pc:sldMk cId="515708478" sldId="2132737977"/>
        </pc:sldMkLst>
      </pc:sldChg>
      <pc:sldChg chg="modSp mod">
        <pc:chgData name="元崎 直美" userId="94a5ddba-def4-4e2a-b01c-b54bd41ed526" providerId="ADAL" clId="{F345F22A-4AF6-7D4A-AF0D-2F967ACE1F26}" dt="2025-01-18T05:45:57.046" v="215" actId="20577"/>
        <pc:sldMkLst>
          <pc:docMk/>
          <pc:sldMk cId="2051184083" sldId="2132738020"/>
        </pc:sldMkLst>
        <pc:spChg chg="mod">
          <ac:chgData name="元崎 直美" userId="94a5ddba-def4-4e2a-b01c-b54bd41ed526" providerId="ADAL" clId="{F345F22A-4AF6-7D4A-AF0D-2F967ACE1F26}" dt="2025-01-18T05:45:57.046" v="215" actId="20577"/>
          <ac:spMkLst>
            <pc:docMk/>
            <pc:sldMk cId="2051184083" sldId="2132738020"/>
            <ac:spMk id="3" creationId="{433F7D91-AB9D-A950-5E89-6CD50829BCD5}"/>
          </ac:spMkLst>
        </pc:spChg>
      </pc:sldChg>
      <pc:sldMasterChg chg="delSldLayout">
        <pc:chgData name="元崎 直美" userId="94a5ddba-def4-4e2a-b01c-b54bd41ed526" providerId="ADAL" clId="{F345F22A-4AF6-7D4A-AF0D-2F967ACE1F26}" dt="2025-01-24T02:00:44.376" v="397" actId="2696"/>
        <pc:sldMasterMkLst>
          <pc:docMk/>
          <pc:sldMasterMk cId="3538977978" sldId="2147483735"/>
        </pc:sldMasterMkLst>
        <pc:sldLayoutChg chg="del">
          <pc:chgData name="元崎 直美" userId="94a5ddba-def4-4e2a-b01c-b54bd41ed526" providerId="ADAL" clId="{F345F22A-4AF6-7D4A-AF0D-2F967ACE1F26}" dt="2025-01-24T02:00:44.376" v="397" actId="2696"/>
          <pc:sldLayoutMkLst>
            <pc:docMk/>
            <pc:sldMasterMk cId="3538977978" sldId="2147483735"/>
            <pc:sldLayoutMk cId="153025365" sldId="2147483768"/>
          </pc:sldLayoutMkLst>
        </pc:sldLayoutChg>
      </pc:sldMasterChg>
    </pc:docChg>
  </pc:docChgLst>
  <pc:docChgLst>
    <pc:chgData name="長縄 一輝" userId="S::i.naganawa@regacy-innovation.com::6e752ca5-6cac-4d39-b3c0-119993377875" providerId="AD" clId="Web-{F0A1EC24-E59F-B95C-36AC-8F6A940136E4}"/>
    <pc:docChg chg="modSld">
      <pc:chgData name="長縄 一輝" userId="S::i.naganawa@regacy-innovation.com::6e752ca5-6cac-4d39-b3c0-119993377875" providerId="AD" clId="Web-{F0A1EC24-E59F-B95C-36AC-8F6A940136E4}" dt="2024-12-11T06:56:43.493" v="0" actId="20577"/>
      <pc:docMkLst>
        <pc:docMk/>
      </pc:docMkLst>
      <pc:sldChg chg="modSp">
        <pc:chgData name="長縄 一輝" userId="S::i.naganawa@regacy-innovation.com::6e752ca5-6cac-4d39-b3c0-119993377875" providerId="AD" clId="Web-{F0A1EC24-E59F-B95C-36AC-8F6A940136E4}" dt="2024-12-11T06:56:43.493" v="0" actId="20577"/>
        <pc:sldMkLst>
          <pc:docMk/>
          <pc:sldMk cId="1544090745" sldId="2132737834"/>
        </pc:sldMkLst>
        <pc:spChg chg="mod">
          <ac:chgData name="長縄 一輝" userId="S::i.naganawa@regacy-innovation.com::6e752ca5-6cac-4d39-b3c0-119993377875" providerId="AD" clId="Web-{F0A1EC24-E59F-B95C-36AC-8F6A940136E4}" dt="2024-12-11T06:56:43.493" v="0" actId="20577"/>
          <ac:spMkLst>
            <pc:docMk/>
            <pc:sldMk cId="1544090745" sldId="2132737834"/>
            <ac:spMk id="2" creationId="{DD00F34D-DC8B-15F3-C290-44B704D81706}"/>
          </ac:spMkLst>
        </pc:spChg>
      </pc:sldChg>
    </pc:docChg>
  </pc:docChgLst>
  <pc:docChgLst>
    <pc:chgData name="長縄 一輝" userId="S::i.naganawa@regacy-innovation.com::6e752ca5-6cac-4d39-b3c0-119993377875" providerId="AD" clId="Web-{2AC4049B-AEB5-046E-055C-66DE8175A4CB}"/>
    <pc:docChg chg="modSld">
      <pc:chgData name="長縄 一輝" userId="S::i.naganawa@regacy-innovation.com::6e752ca5-6cac-4d39-b3c0-119993377875" providerId="AD" clId="Web-{2AC4049B-AEB5-046E-055C-66DE8175A4CB}" dt="2024-12-11T07:03:34.892" v="0" actId="20577"/>
      <pc:docMkLst>
        <pc:docMk/>
      </pc:docMkLst>
      <pc:sldChg chg="modSp">
        <pc:chgData name="長縄 一輝" userId="S::i.naganawa@regacy-innovation.com::6e752ca5-6cac-4d39-b3c0-119993377875" providerId="AD" clId="Web-{2AC4049B-AEB5-046E-055C-66DE8175A4CB}" dt="2024-12-11T07:03:34.892" v="0" actId="20577"/>
        <pc:sldMkLst>
          <pc:docMk/>
          <pc:sldMk cId="472770685" sldId="2132737976"/>
        </pc:sldMkLst>
        <pc:spChg chg="mod">
          <ac:chgData name="長縄 一輝" userId="S::i.naganawa@regacy-innovation.com::6e752ca5-6cac-4d39-b3c0-119993377875" providerId="AD" clId="Web-{2AC4049B-AEB5-046E-055C-66DE8175A4CB}" dt="2024-12-11T07:03:34.892" v="0" actId="20577"/>
          <ac:spMkLst>
            <pc:docMk/>
            <pc:sldMk cId="472770685" sldId="2132737976"/>
            <ac:spMk id="6" creationId="{FFA08AE9-A230-75D0-FAA4-7A8731AC2123}"/>
          </ac:spMkLst>
        </pc:spChg>
      </pc:sldChg>
    </pc:docChg>
  </pc:docChgLst>
  <pc:docChgLst>
    <pc:chgData name="元崎 直美" userId="94a5ddba-def4-4e2a-b01c-b54bd41ed526" providerId="ADAL" clId="{A3C6D7DA-B91C-7D49-8A94-0E4EFE1ED81C}"/>
    <pc:docChg chg="undo custSel addSld modSld sldOrd">
      <pc:chgData name="元崎 直美" userId="94a5ddba-def4-4e2a-b01c-b54bd41ed526" providerId="ADAL" clId="{A3C6D7DA-B91C-7D49-8A94-0E4EFE1ED81C}" dt="2025-01-14T04:46:47.567" v="2040" actId="20577"/>
      <pc:docMkLst>
        <pc:docMk/>
      </pc:docMkLst>
      <pc:sldChg chg="ord">
        <pc:chgData name="元崎 直美" userId="94a5ddba-def4-4e2a-b01c-b54bd41ed526" providerId="ADAL" clId="{A3C6D7DA-B91C-7D49-8A94-0E4EFE1ED81C}" dt="2025-01-14T04:16:57.612" v="191" actId="20578"/>
        <pc:sldMkLst>
          <pc:docMk/>
          <pc:sldMk cId="0" sldId="261"/>
        </pc:sldMkLst>
      </pc:sldChg>
      <pc:sldChg chg="modSp mod">
        <pc:chgData name="元崎 直美" userId="94a5ddba-def4-4e2a-b01c-b54bd41ed526" providerId="ADAL" clId="{A3C6D7DA-B91C-7D49-8A94-0E4EFE1ED81C}" dt="2025-01-14T04:22:02.499" v="484" actId="20577"/>
        <pc:sldMkLst>
          <pc:docMk/>
          <pc:sldMk cId="1544090745" sldId="2132737834"/>
        </pc:sldMkLst>
        <pc:spChg chg="mod">
          <ac:chgData name="元崎 直美" userId="94a5ddba-def4-4e2a-b01c-b54bd41ed526" providerId="ADAL" clId="{A3C6D7DA-B91C-7D49-8A94-0E4EFE1ED81C}" dt="2025-01-14T04:22:02.499" v="484" actId="20577"/>
          <ac:spMkLst>
            <pc:docMk/>
            <pc:sldMk cId="1544090745" sldId="2132737834"/>
            <ac:spMk id="2" creationId="{DD00F34D-DC8B-15F3-C290-44B704D81706}"/>
          </ac:spMkLst>
        </pc:spChg>
      </pc:sldChg>
      <pc:sldChg chg="addSp delSp modSp mod ord modShow">
        <pc:chgData name="元崎 直美" userId="94a5ddba-def4-4e2a-b01c-b54bd41ed526" providerId="ADAL" clId="{A3C6D7DA-B91C-7D49-8A94-0E4EFE1ED81C}" dt="2025-01-14T04:46:47.567" v="2040" actId="20577"/>
        <pc:sldMkLst>
          <pc:docMk/>
          <pc:sldMk cId="1044353484" sldId="2132737973"/>
        </pc:sldMkLst>
        <pc:spChg chg="add mod">
          <ac:chgData name="元崎 直美" userId="94a5ddba-def4-4e2a-b01c-b54bd41ed526" providerId="ADAL" clId="{A3C6D7DA-B91C-7D49-8A94-0E4EFE1ED81C}" dt="2025-01-05T14:45:23.716" v="152" actId="1076"/>
          <ac:spMkLst>
            <pc:docMk/>
            <pc:sldMk cId="1044353484" sldId="2132737973"/>
            <ac:spMk id="2" creationId="{1E9B3D89-5D0C-02F7-65A1-4F7B4790019C}"/>
          </ac:spMkLst>
        </pc:spChg>
        <pc:spChg chg="add del">
          <ac:chgData name="元崎 直美" userId="94a5ddba-def4-4e2a-b01c-b54bd41ed526" providerId="ADAL" clId="{A3C6D7DA-B91C-7D49-8A94-0E4EFE1ED81C}" dt="2025-01-14T04:17:03.060" v="193" actId="21"/>
          <ac:spMkLst>
            <pc:docMk/>
            <pc:sldMk cId="1044353484" sldId="2132737973"/>
            <ac:spMk id="3" creationId="{D71FF252-D0A2-3731-9453-90E2CFE95DB4}"/>
          </ac:spMkLst>
        </pc:spChg>
        <pc:spChg chg="mod">
          <ac:chgData name="元崎 直美" userId="94a5ddba-def4-4e2a-b01c-b54bd41ed526" providerId="ADAL" clId="{A3C6D7DA-B91C-7D49-8A94-0E4EFE1ED81C}" dt="2025-01-14T04:21:41.141" v="473" actId="20577"/>
          <ac:spMkLst>
            <pc:docMk/>
            <pc:sldMk cId="1044353484" sldId="2132737973"/>
            <ac:spMk id="4" creationId="{AE172B0E-EFB8-F4CF-AFF1-5B3A8CE87BEE}"/>
          </ac:spMkLst>
        </pc:spChg>
        <pc:spChg chg="add mod">
          <ac:chgData name="元崎 直美" userId="94a5ddba-def4-4e2a-b01c-b54bd41ed526" providerId="ADAL" clId="{A3C6D7DA-B91C-7D49-8A94-0E4EFE1ED81C}" dt="2025-01-14T04:46:47.567" v="2040" actId="20577"/>
          <ac:spMkLst>
            <pc:docMk/>
            <pc:sldMk cId="1044353484" sldId="2132737973"/>
            <ac:spMk id="6" creationId="{B5244F6F-1E2C-C195-1E96-493B2C8EB1D7}"/>
          </ac:spMkLst>
        </pc:spChg>
        <pc:spChg chg="add mod">
          <ac:chgData name="元崎 直美" userId="94a5ddba-def4-4e2a-b01c-b54bd41ed526" providerId="ADAL" clId="{A3C6D7DA-B91C-7D49-8A94-0E4EFE1ED81C}" dt="2025-01-14T04:46:43.433" v="2036" actId="20577"/>
          <ac:spMkLst>
            <pc:docMk/>
            <pc:sldMk cId="1044353484" sldId="2132737973"/>
            <ac:spMk id="7" creationId="{D46632CF-CF36-D205-1629-910C9FCE17E5}"/>
          </ac:spMkLst>
        </pc:spChg>
        <pc:spChg chg="add del mod">
          <ac:chgData name="元崎 直美" userId="94a5ddba-def4-4e2a-b01c-b54bd41ed526" providerId="ADAL" clId="{A3C6D7DA-B91C-7D49-8A94-0E4EFE1ED81C}" dt="2025-01-14T04:45:25.616" v="1946" actId="478"/>
          <ac:spMkLst>
            <pc:docMk/>
            <pc:sldMk cId="1044353484" sldId="2132737973"/>
            <ac:spMk id="8" creationId="{3EB47CE5-3FB3-E9B8-0681-220E4365B88C}"/>
          </ac:spMkLst>
        </pc:spChg>
        <pc:spChg chg="mod topLvl">
          <ac:chgData name="元崎 直美" userId="94a5ddba-def4-4e2a-b01c-b54bd41ed526" providerId="ADAL" clId="{A3C6D7DA-B91C-7D49-8A94-0E4EFE1ED81C}" dt="2025-01-14T04:18:00.940" v="225" actId="2711"/>
          <ac:spMkLst>
            <pc:docMk/>
            <pc:sldMk cId="1044353484" sldId="2132737973"/>
            <ac:spMk id="18" creationId="{1CD5F8A8-136D-A6A3-2AA1-B9DA7E5F2E49}"/>
          </ac:spMkLst>
        </pc:spChg>
        <pc:spChg chg="mod topLvl">
          <ac:chgData name="元崎 直美" userId="94a5ddba-def4-4e2a-b01c-b54bd41ed526" providerId="ADAL" clId="{A3C6D7DA-B91C-7D49-8A94-0E4EFE1ED81C}" dt="2025-01-14T04:18:00.940" v="225" actId="2711"/>
          <ac:spMkLst>
            <pc:docMk/>
            <pc:sldMk cId="1044353484" sldId="2132737973"/>
            <ac:spMk id="20" creationId="{56A115EC-9E9A-E382-3147-C3287C20DFCA}"/>
          </ac:spMkLst>
        </pc:spChg>
        <pc:spChg chg="mod topLvl">
          <ac:chgData name="元崎 直美" userId="94a5ddba-def4-4e2a-b01c-b54bd41ed526" providerId="ADAL" clId="{A3C6D7DA-B91C-7D49-8A94-0E4EFE1ED81C}" dt="2025-01-14T04:18:00.940" v="225" actId="2711"/>
          <ac:spMkLst>
            <pc:docMk/>
            <pc:sldMk cId="1044353484" sldId="2132737973"/>
            <ac:spMk id="21" creationId="{25814892-89E4-25BC-6714-E372683C5731}"/>
          </ac:spMkLst>
        </pc:spChg>
        <pc:spChg chg="mod topLvl">
          <ac:chgData name="元崎 直美" userId="94a5ddba-def4-4e2a-b01c-b54bd41ed526" providerId="ADAL" clId="{A3C6D7DA-B91C-7D49-8A94-0E4EFE1ED81C}" dt="2025-01-14T04:18:00.940" v="225" actId="2711"/>
          <ac:spMkLst>
            <pc:docMk/>
            <pc:sldMk cId="1044353484" sldId="2132737973"/>
            <ac:spMk id="24" creationId="{5B95267C-0DB0-A8CA-46F2-CC5C3BCC3793}"/>
          </ac:spMkLst>
        </pc:spChg>
        <pc:spChg chg="mod topLvl">
          <ac:chgData name="元崎 直美" userId="94a5ddba-def4-4e2a-b01c-b54bd41ed526" providerId="ADAL" clId="{A3C6D7DA-B91C-7D49-8A94-0E4EFE1ED81C}" dt="2025-01-14T04:18:00.940" v="225" actId="2711"/>
          <ac:spMkLst>
            <pc:docMk/>
            <pc:sldMk cId="1044353484" sldId="2132737973"/>
            <ac:spMk id="25" creationId="{00FF0BB6-E791-143D-A14E-A81A71EB1C9F}"/>
          </ac:spMkLst>
        </pc:spChg>
        <pc:spChg chg="mod topLvl">
          <ac:chgData name="元崎 直美" userId="94a5ddba-def4-4e2a-b01c-b54bd41ed526" providerId="ADAL" clId="{A3C6D7DA-B91C-7D49-8A94-0E4EFE1ED81C}" dt="2025-01-14T04:18:00.940" v="225" actId="2711"/>
          <ac:spMkLst>
            <pc:docMk/>
            <pc:sldMk cId="1044353484" sldId="2132737973"/>
            <ac:spMk id="26" creationId="{682FE1DE-D253-0A43-6083-B88AEEFAC408}"/>
          </ac:spMkLst>
        </pc:spChg>
        <pc:spChg chg="mod topLvl">
          <ac:chgData name="元崎 直美" userId="94a5ddba-def4-4e2a-b01c-b54bd41ed526" providerId="ADAL" clId="{A3C6D7DA-B91C-7D49-8A94-0E4EFE1ED81C}" dt="2025-01-14T04:18:00.940" v="225" actId="2711"/>
          <ac:spMkLst>
            <pc:docMk/>
            <pc:sldMk cId="1044353484" sldId="2132737973"/>
            <ac:spMk id="29" creationId="{4D8126C5-E4E6-1DAD-1023-09EB93C35EE2}"/>
          </ac:spMkLst>
        </pc:spChg>
        <pc:spChg chg="mod topLvl">
          <ac:chgData name="元崎 直美" userId="94a5ddba-def4-4e2a-b01c-b54bd41ed526" providerId="ADAL" clId="{A3C6D7DA-B91C-7D49-8A94-0E4EFE1ED81C}" dt="2025-01-14T04:18:00.940" v="225" actId="2711"/>
          <ac:spMkLst>
            <pc:docMk/>
            <pc:sldMk cId="1044353484" sldId="2132737973"/>
            <ac:spMk id="32" creationId="{D0DEC046-86DA-7815-B090-6DEC37F2F3E3}"/>
          </ac:spMkLst>
        </pc:spChg>
        <pc:spChg chg="mod topLvl">
          <ac:chgData name="元崎 直美" userId="94a5ddba-def4-4e2a-b01c-b54bd41ed526" providerId="ADAL" clId="{A3C6D7DA-B91C-7D49-8A94-0E4EFE1ED81C}" dt="2025-01-14T04:18:00.940" v="225" actId="2711"/>
          <ac:spMkLst>
            <pc:docMk/>
            <pc:sldMk cId="1044353484" sldId="2132737973"/>
            <ac:spMk id="33" creationId="{9583E1FF-3D6D-2E6F-79DA-A6FC5166A8F1}"/>
          </ac:spMkLst>
        </pc:spChg>
        <pc:spChg chg="mod topLvl">
          <ac:chgData name="元崎 直美" userId="94a5ddba-def4-4e2a-b01c-b54bd41ed526" providerId="ADAL" clId="{A3C6D7DA-B91C-7D49-8A94-0E4EFE1ED81C}" dt="2025-01-14T04:18:00.940" v="225" actId="2711"/>
          <ac:spMkLst>
            <pc:docMk/>
            <pc:sldMk cId="1044353484" sldId="2132737973"/>
            <ac:spMk id="34" creationId="{CA15AC91-6A69-F877-1A0E-1E46159FC0C0}"/>
          </ac:spMkLst>
        </pc:spChg>
        <pc:spChg chg="mod">
          <ac:chgData name="元崎 直美" userId="94a5ddba-def4-4e2a-b01c-b54bd41ed526" providerId="ADAL" clId="{A3C6D7DA-B91C-7D49-8A94-0E4EFE1ED81C}" dt="2025-01-14T04:18:00.940" v="225" actId="2711"/>
          <ac:spMkLst>
            <pc:docMk/>
            <pc:sldMk cId="1044353484" sldId="2132737973"/>
            <ac:spMk id="45" creationId="{C1FE83B1-F3BD-C002-5FEC-EB49D8C2A56D}"/>
          </ac:spMkLst>
        </pc:spChg>
        <pc:spChg chg="del mod">
          <ac:chgData name="元崎 直美" userId="94a5ddba-def4-4e2a-b01c-b54bd41ed526" providerId="ADAL" clId="{A3C6D7DA-B91C-7D49-8A94-0E4EFE1ED81C}" dt="2025-01-14T04:35:53.733" v="1336" actId="478"/>
          <ac:spMkLst>
            <pc:docMk/>
            <pc:sldMk cId="1044353484" sldId="2132737973"/>
            <ac:spMk id="46" creationId="{E0A041CD-07D6-5918-15C0-A92D80F5B871}"/>
          </ac:spMkLst>
        </pc:spChg>
        <pc:grpChg chg="add del mod">
          <ac:chgData name="元崎 直美" userId="94a5ddba-def4-4e2a-b01c-b54bd41ed526" providerId="ADAL" clId="{A3C6D7DA-B91C-7D49-8A94-0E4EFE1ED81C}" dt="2025-01-14T04:15:03.171" v="161" actId="165"/>
          <ac:grpSpMkLst>
            <pc:docMk/>
            <pc:sldMk cId="1044353484" sldId="2132737973"/>
            <ac:grpSpMk id="2" creationId="{D032C3B4-087C-24AC-8F27-EEF1C3716B09}"/>
          </ac:grpSpMkLst>
        </pc:grpChg>
        <pc:grpChg chg="add mod">
          <ac:chgData name="元崎 直美" userId="94a5ddba-def4-4e2a-b01c-b54bd41ed526" providerId="ADAL" clId="{A3C6D7DA-B91C-7D49-8A94-0E4EFE1ED81C}" dt="2025-01-14T04:40:18.348" v="1632" actId="1076"/>
          <ac:grpSpMkLst>
            <pc:docMk/>
            <pc:sldMk cId="1044353484" sldId="2132737973"/>
            <ac:grpSpMk id="5" creationId="{989BFE80-C5E4-1898-D7A9-E2BE1825BC40}"/>
          </ac:grpSpMkLst>
        </pc:grpChg>
        <pc:cxnChg chg="mod topLvl">
          <ac:chgData name="元崎 直美" userId="94a5ddba-def4-4e2a-b01c-b54bd41ed526" providerId="ADAL" clId="{A3C6D7DA-B91C-7D49-8A94-0E4EFE1ED81C}" dt="2025-01-14T04:15:07.406" v="164" actId="12788"/>
          <ac:cxnSpMkLst>
            <pc:docMk/>
            <pc:sldMk cId="1044353484" sldId="2132737973"/>
            <ac:cxnSpMk id="35" creationId="{6F80D439-7E53-8DA6-C1D6-020899161482}"/>
          </ac:cxnSpMkLst>
        </pc:cxnChg>
        <pc:cxnChg chg="mod topLvl">
          <ac:chgData name="元崎 直美" userId="94a5ddba-def4-4e2a-b01c-b54bd41ed526" providerId="ADAL" clId="{A3C6D7DA-B91C-7D49-8A94-0E4EFE1ED81C}" dt="2025-01-14T04:15:07.406" v="164" actId="12788"/>
          <ac:cxnSpMkLst>
            <pc:docMk/>
            <pc:sldMk cId="1044353484" sldId="2132737973"/>
            <ac:cxnSpMk id="37" creationId="{CACC3FBF-FB9A-4A55-AA52-D4379D765653}"/>
          </ac:cxnSpMkLst>
        </pc:cxnChg>
        <pc:cxnChg chg="mod topLvl">
          <ac:chgData name="元崎 直美" userId="94a5ddba-def4-4e2a-b01c-b54bd41ed526" providerId="ADAL" clId="{A3C6D7DA-B91C-7D49-8A94-0E4EFE1ED81C}" dt="2025-01-14T04:15:07.406" v="164" actId="12788"/>
          <ac:cxnSpMkLst>
            <pc:docMk/>
            <pc:sldMk cId="1044353484" sldId="2132737973"/>
            <ac:cxnSpMk id="38" creationId="{CCBAB8DE-C4AB-547C-9DE2-BD4AE6E2104A}"/>
          </ac:cxnSpMkLst>
        </pc:cxnChg>
        <pc:cxnChg chg="topLvl">
          <ac:chgData name="元崎 直美" userId="94a5ddba-def4-4e2a-b01c-b54bd41ed526" providerId="ADAL" clId="{A3C6D7DA-B91C-7D49-8A94-0E4EFE1ED81C}" dt="2025-01-14T04:15:03.171" v="161" actId="165"/>
          <ac:cxnSpMkLst>
            <pc:docMk/>
            <pc:sldMk cId="1044353484" sldId="2132737973"/>
            <ac:cxnSpMk id="39" creationId="{E2F489D6-34B4-C72F-2322-F15A6D530121}"/>
          </ac:cxnSpMkLst>
        </pc:cxnChg>
        <pc:cxnChg chg="topLvl">
          <ac:chgData name="元崎 直美" userId="94a5ddba-def4-4e2a-b01c-b54bd41ed526" providerId="ADAL" clId="{A3C6D7DA-B91C-7D49-8A94-0E4EFE1ED81C}" dt="2025-01-14T04:15:03.171" v="161" actId="165"/>
          <ac:cxnSpMkLst>
            <pc:docMk/>
            <pc:sldMk cId="1044353484" sldId="2132737973"/>
            <ac:cxnSpMk id="40" creationId="{67D6414C-E594-F3DB-5700-F50BA89631D2}"/>
          </ac:cxnSpMkLst>
        </pc:cxnChg>
        <pc:cxnChg chg="topLvl">
          <ac:chgData name="元崎 直美" userId="94a5ddba-def4-4e2a-b01c-b54bd41ed526" providerId="ADAL" clId="{A3C6D7DA-B91C-7D49-8A94-0E4EFE1ED81C}" dt="2025-01-14T04:15:03.171" v="161" actId="165"/>
          <ac:cxnSpMkLst>
            <pc:docMk/>
            <pc:sldMk cId="1044353484" sldId="2132737973"/>
            <ac:cxnSpMk id="41" creationId="{9BDABA54-07CD-2D76-8BF8-B137D9B8ED0A}"/>
          </ac:cxnSpMkLst>
        </pc:cxnChg>
      </pc:sldChg>
      <pc:sldChg chg="addSp delSp modSp mod">
        <pc:chgData name="元崎 直美" userId="94a5ddba-def4-4e2a-b01c-b54bd41ed526" providerId="ADAL" clId="{A3C6D7DA-B91C-7D49-8A94-0E4EFE1ED81C}" dt="2025-01-14T04:43:24.945" v="1855" actId="20577"/>
        <pc:sldMkLst>
          <pc:docMk/>
          <pc:sldMk cId="176434207" sldId="2132737975"/>
        </pc:sldMkLst>
        <pc:spChg chg="mod">
          <ac:chgData name="元崎 直美" userId="94a5ddba-def4-4e2a-b01c-b54bd41ed526" providerId="ADAL" clId="{A3C6D7DA-B91C-7D49-8A94-0E4EFE1ED81C}" dt="2025-01-14T04:42:58.117" v="1826" actId="207"/>
          <ac:spMkLst>
            <pc:docMk/>
            <pc:sldMk cId="176434207" sldId="2132737975"/>
            <ac:spMk id="4" creationId="{02A5AF5D-263A-6C22-841F-BF319173955C}"/>
          </ac:spMkLst>
        </pc:spChg>
        <pc:spChg chg="mod">
          <ac:chgData name="元崎 直美" userId="94a5ddba-def4-4e2a-b01c-b54bd41ed526" providerId="ADAL" clId="{A3C6D7DA-B91C-7D49-8A94-0E4EFE1ED81C}" dt="2025-01-14T04:17:47.325" v="222"/>
          <ac:spMkLst>
            <pc:docMk/>
            <pc:sldMk cId="176434207" sldId="2132737975"/>
            <ac:spMk id="5" creationId="{D8CB1D23-7405-9154-007A-26055445C6E9}"/>
          </ac:spMkLst>
        </pc:spChg>
        <pc:spChg chg="mod">
          <ac:chgData name="元崎 直美" userId="94a5ddba-def4-4e2a-b01c-b54bd41ed526" providerId="ADAL" clId="{A3C6D7DA-B91C-7D49-8A94-0E4EFE1ED81C}" dt="2025-01-14T04:17:47.325" v="222"/>
          <ac:spMkLst>
            <pc:docMk/>
            <pc:sldMk cId="176434207" sldId="2132737975"/>
            <ac:spMk id="6" creationId="{8E2F90F8-77D6-97A3-5E4E-591AFCC64BB8}"/>
          </ac:spMkLst>
        </pc:spChg>
        <pc:spChg chg="mod">
          <ac:chgData name="元崎 直美" userId="94a5ddba-def4-4e2a-b01c-b54bd41ed526" providerId="ADAL" clId="{A3C6D7DA-B91C-7D49-8A94-0E4EFE1ED81C}" dt="2025-01-14T04:17:47.325" v="222"/>
          <ac:spMkLst>
            <pc:docMk/>
            <pc:sldMk cId="176434207" sldId="2132737975"/>
            <ac:spMk id="7" creationId="{79D91E33-8FC7-A6FE-E0C4-CC756EFE5E5C}"/>
          </ac:spMkLst>
        </pc:spChg>
        <pc:spChg chg="mod">
          <ac:chgData name="元崎 直美" userId="94a5ddba-def4-4e2a-b01c-b54bd41ed526" providerId="ADAL" clId="{A3C6D7DA-B91C-7D49-8A94-0E4EFE1ED81C}" dt="2025-01-14T04:17:47.325" v="222"/>
          <ac:spMkLst>
            <pc:docMk/>
            <pc:sldMk cId="176434207" sldId="2132737975"/>
            <ac:spMk id="8" creationId="{DF0A9571-16CE-2A0E-4E43-D7211188A9AE}"/>
          </ac:spMkLst>
        </pc:spChg>
        <pc:spChg chg="mod">
          <ac:chgData name="元崎 直美" userId="94a5ddba-def4-4e2a-b01c-b54bd41ed526" providerId="ADAL" clId="{A3C6D7DA-B91C-7D49-8A94-0E4EFE1ED81C}" dt="2025-01-14T04:17:47.325" v="222"/>
          <ac:spMkLst>
            <pc:docMk/>
            <pc:sldMk cId="176434207" sldId="2132737975"/>
            <ac:spMk id="9" creationId="{77E1778F-D847-5112-F98F-7395DBF93E12}"/>
          </ac:spMkLst>
        </pc:spChg>
        <pc:spChg chg="mod">
          <ac:chgData name="元崎 直美" userId="94a5ddba-def4-4e2a-b01c-b54bd41ed526" providerId="ADAL" clId="{A3C6D7DA-B91C-7D49-8A94-0E4EFE1ED81C}" dt="2025-01-14T04:17:47.325" v="222"/>
          <ac:spMkLst>
            <pc:docMk/>
            <pc:sldMk cId="176434207" sldId="2132737975"/>
            <ac:spMk id="10" creationId="{DFA5B84F-352F-043A-5F6B-1F8004095024}"/>
          </ac:spMkLst>
        </pc:spChg>
        <pc:spChg chg="mod">
          <ac:chgData name="元崎 直美" userId="94a5ddba-def4-4e2a-b01c-b54bd41ed526" providerId="ADAL" clId="{A3C6D7DA-B91C-7D49-8A94-0E4EFE1ED81C}" dt="2025-01-14T04:17:47.325" v="222"/>
          <ac:spMkLst>
            <pc:docMk/>
            <pc:sldMk cId="176434207" sldId="2132737975"/>
            <ac:spMk id="11" creationId="{0D32B744-9A02-FDE0-2703-142674D0091E}"/>
          </ac:spMkLst>
        </pc:spChg>
        <pc:spChg chg="mod">
          <ac:chgData name="元崎 直美" userId="94a5ddba-def4-4e2a-b01c-b54bd41ed526" providerId="ADAL" clId="{A3C6D7DA-B91C-7D49-8A94-0E4EFE1ED81C}" dt="2025-01-14T04:17:47.325" v="222"/>
          <ac:spMkLst>
            <pc:docMk/>
            <pc:sldMk cId="176434207" sldId="2132737975"/>
            <ac:spMk id="12" creationId="{F367C05D-911F-F102-C599-A44A9F2CCDBD}"/>
          </ac:spMkLst>
        </pc:spChg>
        <pc:spChg chg="mod">
          <ac:chgData name="元崎 直美" userId="94a5ddba-def4-4e2a-b01c-b54bd41ed526" providerId="ADAL" clId="{A3C6D7DA-B91C-7D49-8A94-0E4EFE1ED81C}" dt="2025-01-14T04:17:47.325" v="222"/>
          <ac:spMkLst>
            <pc:docMk/>
            <pc:sldMk cId="176434207" sldId="2132737975"/>
            <ac:spMk id="13" creationId="{FAAD232D-F319-4995-F443-7D90BA0FA588}"/>
          </ac:spMkLst>
        </pc:spChg>
        <pc:spChg chg="mod">
          <ac:chgData name="元崎 直美" userId="94a5ddba-def4-4e2a-b01c-b54bd41ed526" providerId="ADAL" clId="{A3C6D7DA-B91C-7D49-8A94-0E4EFE1ED81C}" dt="2025-01-14T04:17:47.325" v="222"/>
          <ac:spMkLst>
            <pc:docMk/>
            <pc:sldMk cId="176434207" sldId="2132737975"/>
            <ac:spMk id="14" creationId="{47051256-1D94-C4B0-5FF1-0ECF9105864E}"/>
          </ac:spMkLst>
        </pc:spChg>
        <pc:spChg chg="mod">
          <ac:chgData name="元崎 直美" userId="94a5ddba-def4-4e2a-b01c-b54bd41ed526" providerId="ADAL" clId="{A3C6D7DA-B91C-7D49-8A94-0E4EFE1ED81C}" dt="2025-01-14T04:42:58.117" v="1826" actId="207"/>
          <ac:spMkLst>
            <pc:docMk/>
            <pc:sldMk cId="176434207" sldId="2132737975"/>
            <ac:spMk id="18" creationId="{BFD1F757-BCBE-77E0-D793-67725EDB5C66}"/>
          </ac:spMkLst>
        </pc:spChg>
        <pc:spChg chg="mod">
          <ac:chgData name="元崎 直美" userId="94a5ddba-def4-4e2a-b01c-b54bd41ed526" providerId="ADAL" clId="{A3C6D7DA-B91C-7D49-8A94-0E4EFE1ED81C}" dt="2025-01-14T04:42:58.117" v="1826" actId="207"/>
          <ac:spMkLst>
            <pc:docMk/>
            <pc:sldMk cId="176434207" sldId="2132737975"/>
            <ac:spMk id="20" creationId="{1D4BDF2D-AD09-103E-203C-41EC8B7B1498}"/>
          </ac:spMkLst>
        </pc:spChg>
        <pc:spChg chg="mod">
          <ac:chgData name="元崎 直美" userId="94a5ddba-def4-4e2a-b01c-b54bd41ed526" providerId="ADAL" clId="{A3C6D7DA-B91C-7D49-8A94-0E4EFE1ED81C}" dt="2025-01-14T04:42:58.117" v="1826" actId="207"/>
          <ac:spMkLst>
            <pc:docMk/>
            <pc:sldMk cId="176434207" sldId="2132737975"/>
            <ac:spMk id="21" creationId="{0458E723-12F9-0412-F958-9650BDCC1E48}"/>
          </ac:spMkLst>
        </pc:spChg>
        <pc:spChg chg="mod">
          <ac:chgData name="元崎 直美" userId="94a5ddba-def4-4e2a-b01c-b54bd41ed526" providerId="ADAL" clId="{A3C6D7DA-B91C-7D49-8A94-0E4EFE1ED81C}" dt="2025-01-14T04:42:59.530" v="1827" actId="207"/>
          <ac:spMkLst>
            <pc:docMk/>
            <pc:sldMk cId="176434207" sldId="2132737975"/>
            <ac:spMk id="24" creationId="{B00E06AE-410B-5095-DA73-28F249118EED}"/>
          </ac:spMkLst>
        </pc:spChg>
        <pc:spChg chg="mod">
          <ac:chgData name="元崎 直美" userId="94a5ddba-def4-4e2a-b01c-b54bd41ed526" providerId="ADAL" clId="{A3C6D7DA-B91C-7D49-8A94-0E4EFE1ED81C}" dt="2025-01-14T04:42:58.117" v="1826" actId="207"/>
          <ac:spMkLst>
            <pc:docMk/>
            <pc:sldMk cId="176434207" sldId="2132737975"/>
            <ac:spMk id="25" creationId="{537E1F8C-FD99-636F-9C67-C7F10F7C47B4}"/>
          </ac:spMkLst>
        </pc:spChg>
        <pc:spChg chg="mod">
          <ac:chgData name="元崎 直美" userId="94a5ddba-def4-4e2a-b01c-b54bd41ed526" providerId="ADAL" clId="{A3C6D7DA-B91C-7D49-8A94-0E4EFE1ED81C}" dt="2025-01-14T04:42:58.117" v="1826" actId="207"/>
          <ac:spMkLst>
            <pc:docMk/>
            <pc:sldMk cId="176434207" sldId="2132737975"/>
            <ac:spMk id="26" creationId="{27BE4D8A-12EB-497A-8CB5-0ED3EB2DBF2D}"/>
          </ac:spMkLst>
        </pc:spChg>
        <pc:spChg chg="mod">
          <ac:chgData name="元崎 直美" userId="94a5ddba-def4-4e2a-b01c-b54bd41ed526" providerId="ADAL" clId="{A3C6D7DA-B91C-7D49-8A94-0E4EFE1ED81C}" dt="2025-01-14T04:20:33.142" v="397"/>
          <ac:spMkLst>
            <pc:docMk/>
            <pc:sldMk cId="176434207" sldId="2132737975"/>
            <ac:spMk id="28" creationId="{D0814A6E-4096-E9E0-8265-0E28A72FD633}"/>
          </ac:spMkLst>
        </pc:spChg>
        <pc:spChg chg="mod">
          <ac:chgData name="元崎 直美" userId="94a5ddba-def4-4e2a-b01c-b54bd41ed526" providerId="ADAL" clId="{A3C6D7DA-B91C-7D49-8A94-0E4EFE1ED81C}" dt="2025-01-14T04:42:58.117" v="1826" actId="207"/>
          <ac:spMkLst>
            <pc:docMk/>
            <pc:sldMk cId="176434207" sldId="2132737975"/>
            <ac:spMk id="29" creationId="{14FDACB0-1881-76D5-D985-B1A8EE048349}"/>
          </ac:spMkLst>
        </pc:spChg>
        <pc:spChg chg="mod">
          <ac:chgData name="元崎 直美" userId="94a5ddba-def4-4e2a-b01c-b54bd41ed526" providerId="ADAL" clId="{A3C6D7DA-B91C-7D49-8A94-0E4EFE1ED81C}" dt="2025-01-14T04:20:33.142" v="397"/>
          <ac:spMkLst>
            <pc:docMk/>
            <pc:sldMk cId="176434207" sldId="2132737975"/>
            <ac:spMk id="30" creationId="{E22B8416-A412-5EA9-637D-7AB993191665}"/>
          </ac:spMkLst>
        </pc:spChg>
        <pc:spChg chg="mod">
          <ac:chgData name="元崎 直美" userId="94a5ddba-def4-4e2a-b01c-b54bd41ed526" providerId="ADAL" clId="{A3C6D7DA-B91C-7D49-8A94-0E4EFE1ED81C}" dt="2025-01-14T04:20:33.142" v="397"/>
          <ac:spMkLst>
            <pc:docMk/>
            <pc:sldMk cId="176434207" sldId="2132737975"/>
            <ac:spMk id="31" creationId="{71AAF99D-DD6C-5C3C-6E31-FF637FE39DFD}"/>
          </ac:spMkLst>
        </pc:spChg>
        <pc:spChg chg="mod">
          <ac:chgData name="元崎 直美" userId="94a5ddba-def4-4e2a-b01c-b54bd41ed526" providerId="ADAL" clId="{A3C6D7DA-B91C-7D49-8A94-0E4EFE1ED81C}" dt="2025-01-14T04:42:57.335" v="1825" actId="207"/>
          <ac:spMkLst>
            <pc:docMk/>
            <pc:sldMk cId="176434207" sldId="2132737975"/>
            <ac:spMk id="32" creationId="{A9C2C74A-9A4F-26F7-FD45-4DC116CE9C4C}"/>
          </ac:spMkLst>
        </pc:spChg>
        <pc:spChg chg="mod">
          <ac:chgData name="元崎 直美" userId="94a5ddba-def4-4e2a-b01c-b54bd41ed526" providerId="ADAL" clId="{A3C6D7DA-B91C-7D49-8A94-0E4EFE1ED81C}" dt="2025-01-14T04:43:01.959" v="1828" actId="207"/>
          <ac:spMkLst>
            <pc:docMk/>
            <pc:sldMk cId="176434207" sldId="2132737975"/>
            <ac:spMk id="33" creationId="{25679429-CACE-8DF7-02F0-4CF93AE8E289}"/>
          </ac:spMkLst>
        </pc:spChg>
        <pc:spChg chg="mod">
          <ac:chgData name="元崎 直美" userId="94a5ddba-def4-4e2a-b01c-b54bd41ed526" providerId="ADAL" clId="{A3C6D7DA-B91C-7D49-8A94-0E4EFE1ED81C}" dt="2025-01-14T04:43:01.959" v="1828" actId="207"/>
          <ac:spMkLst>
            <pc:docMk/>
            <pc:sldMk cId="176434207" sldId="2132737975"/>
            <ac:spMk id="34" creationId="{90A673C3-EE21-9429-7613-BDA70023522C}"/>
          </ac:spMkLst>
        </pc:spChg>
        <pc:spChg chg="mod">
          <ac:chgData name="元崎 直美" userId="94a5ddba-def4-4e2a-b01c-b54bd41ed526" providerId="ADAL" clId="{A3C6D7DA-B91C-7D49-8A94-0E4EFE1ED81C}" dt="2025-01-14T04:20:33.142" v="397"/>
          <ac:spMkLst>
            <pc:docMk/>
            <pc:sldMk cId="176434207" sldId="2132737975"/>
            <ac:spMk id="36" creationId="{412326A9-52B2-F53E-7832-140902462078}"/>
          </ac:spMkLst>
        </pc:spChg>
        <pc:spChg chg="mod">
          <ac:chgData name="元崎 直美" userId="94a5ddba-def4-4e2a-b01c-b54bd41ed526" providerId="ADAL" clId="{A3C6D7DA-B91C-7D49-8A94-0E4EFE1ED81C}" dt="2025-01-14T04:20:33.142" v="397"/>
          <ac:spMkLst>
            <pc:docMk/>
            <pc:sldMk cId="176434207" sldId="2132737975"/>
            <ac:spMk id="42" creationId="{15F23B50-5AC5-63C8-F0E0-7FC3DF92CAC7}"/>
          </ac:spMkLst>
        </pc:spChg>
        <pc:spChg chg="mod">
          <ac:chgData name="元崎 直美" userId="94a5ddba-def4-4e2a-b01c-b54bd41ed526" providerId="ADAL" clId="{A3C6D7DA-B91C-7D49-8A94-0E4EFE1ED81C}" dt="2025-01-14T04:20:33.142" v="397"/>
          <ac:spMkLst>
            <pc:docMk/>
            <pc:sldMk cId="176434207" sldId="2132737975"/>
            <ac:spMk id="43" creationId="{096F4476-0BDE-91DE-2CB6-FCE55EAACC5F}"/>
          </ac:spMkLst>
        </pc:spChg>
        <pc:spChg chg="mod">
          <ac:chgData name="元崎 直美" userId="94a5ddba-def4-4e2a-b01c-b54bd41ed526" providerId="ADAL" clId="{A3C6D7DA-B91C-7D49-8A94-0E4EFE1ED81C}" dt="2025-01-14T04:42:58.117" v="1826" actId="207"/>
          <ac:spMkLst>
            <pc:docMk/>
            <pc:sldMk cId="176434207" sldId="2132737975"/>
            <ac:spMk id="44" creationId="{40CE25A8-F1B0-2EDF-9066-2480D2036D70}"/>
          </ac:spMkLst>
        </pc:spChg>
        <pc:spChg chg="mod">
          <ac:chgData name="元崎 直美" userId="94a5ddba-def4-4e2a-b01c-b54bd41ed526" providerId="ADAL" clId="{A3C6D7DA-B91C-7D49-8A94-0E4EFE1ED81C}" dt="2025-01-14T04:42:58.117" v="1826" actId="207"/>
          <ac:spMkLst>
            <pc:docMk/>
            <pc:sldMk cId="176434207" sldId="2132737975"/>
            <ac:spMk id="45" creationId="{5A5F1D57-8BD9-8FD1-4B9B-A51EDF53A0A3}"/>
          </ac:spMkLst>
        </pc:spChg>
        <pc:spChg chg="mod">
          <ac:chgData name="元崎 直美" userId="94a5ddba-def4-4e2a-b01c-b54bd41ed526" providerId="ADAL" clId="{A3C6D7DA-B91C-7D49-8A94-0E4EFE1ED81C}" dt="2025-01-14T04:42:58.117" v="1826" actId="207"/>
          <ac:spMkLst>
            <pc:docMk/>
            <pc:sldMk cId="176434207" sldId="2132737975"/>
            <ac:spMk id="46" creationId="{16EA181A-B8AE-FF0F-0333-37DBBA2FC28D}"/>
          </ac:spMkLst>
        </pc:spChg>
        <pc:spChg chg="mod">
          <ac:chgData name="元崎 直美" userId="94a5ddba-def4-4e2a-b01c-b54bd41ed526" providerId="ADAL" clId="{A3C6D7DA-B91C-7D49-8A94-0E4EFE1ED81C}" dt="2025-01-14T04:20:33.142" v="397"/>
          <ac:spMkLst>
            <pc:docMk/>
            <pc:sldMk cId="176434207" sldId="2132737975"/>
            <ac:spMk id="47" creationId="{C5BCCC50-0BE5-A8D3-8B19-77A2F5CFF3C5}"/>
          </ac:spMkLst>
        </pc:spChg>
        <pc:spChg chg="mod">
          <ac:chgData name="元崎 直美" userId="94a5ddba-def4-4e2a-b01c-b54bd41ed526" providerId="ADAL" clId="{A3C6D7DA-B91C-7D49-8A94-0E4EFE1ED81C}" dt="2025-01-14T04:20:33.142" v="397"/>
          <ac:spMkLst>
            <pc:docMk/>
            <pc:sldMk cId="176434207" sldId="2132737975"/>
            <ac:spMk id="48" creationId="{18164E62-F264-7292-4415-24FD36976D2B}"/>
          </ac:spMkLst>
        </pc:spChg>
        <pc:spChg chg="mod">
          <ac:chgData name="元崎 直美" userId="94a5ddba-def4-4e2a-b01c-b54bd41ed526" providerId="ADAL" clId="{A3C6D7DA-B91C-7D49-8A94-0E4EFE1ED81C}" dt="2025-01-14T04:20:33.142" v="397"/>
          <ac:spMkLst>
            <pc:docMk/>
            <pc:sldMk cId="176434207" sldId="2132737975"/>
            <ac:spMk id="49" creationId="{56EDF3C9-2A9C-E91F-B0B1-E07AA04BE0B6}"/>
          </ac:spMkLst>
        </pc:spChg>
        <pc:spChg chg="mod">
          <ac:chgData name="元崎 直美" userId="94a5ddba-def4-4e2a-b01c-b54bd41ed526" providerId="ADAL" clId="{A3C6D7DA-B91C-7D49-8A94-0E4EFE1ED81C}" dt="2025-01-14T04:20:33.142" v="397"/>
          <ac:spMkLst>
            <pc:docMk/>
            <pc:sldMk cId="176434207" sldId="2132737975"/>
            <ac:spMk id="50" creationId="{37EA9206-810D-B2A9-F481-059DADB0AC29}"/>
          </ac:spMkLst>
        </pc:spChg>
        <pc:spChg chg="mod">
          <ac:chgData name="元崎 直美" userId="94a5ddba-def4-4e2a-b01c-b54bd41ed526" providerId="ADAL" clId="{A3C6D7DA-B91C-7D49-8A94-0E4EFE1ED81C}" dt="2025-01-14T04:20:42.336" v="401"/>
          <ac:spMkLst>
            <pc:docMk/>
            <pc:sldMk cId="176434207" sldId="2132737975"/>
            <ac:spMk id="58" creationId="{C6C9BFFF-1408-D02B-384F-70F7BC1992C9}"/>
          </ac:spMkLst>
        </pc:spChg>
        <pc:spChg chg="mod">
          <ac:chgData name="元崎 直美" userId="94a5ddba-def4-4e2a-b01c-b54bd41ed526" providerId="ADAL" clId="{A3C6D7DA-B91C-7D49-8A94-0E4EFE1ED81C}" dt="2025-01-14T04:20:42.336" v="401"/>
          <ac:spMkLst>
            <pc:docMk/>
            <pc:sldMk cId="176434207" sldId="2132737975"/>
            <ac:spMk id="59" creationId="{31F3BAEA-8CE9-282F-33E5-46ABD6BA0849}"/>
          </ac:spMkLst>
        </pc:spChg>
        <pc:spChg chg="mod">
          <ac:chgData name="元崎 直美" userId="94a5ddba-def4-4e2a-b01c-b54bd41ed526" providerId="ADAL" clId="{A3C6D7DA-B91C-7D49-8A94-0E4EFE1ED81C}" dt="2025-01-14T04:20:42.336" v="401"/>
          <ac:spMkLst>
            <pc:docMk/>
            <pc:sldMk cId="176434207" sldId="2132737975"/>
            <ac:spMk id="60" creationId="{6BE5B716-7856-1C28-D01A-AF574BE66D59}"/>
          </ac:spMkLst>
        </pc:spChg>
        <pc:spChg chg="mod">
          <ac:chgData name="元崎 直美" userId="94a5ddba-def4-4e2a-b01c-b54bd41ed526" providerId="ADAL" clId="{A3C6D7DA-B91C-7D49-8A94-0E4EFE1ED81C}" dt="2025-01-14T04:20:42.336" v="401"/>
          <ac:spMkLst>
            <pc:docMk/>
            <pc:sldMk cId="176434207" sldId="2132737975"/>
            <ac:spMk id="61" creationId="{53C7C925-6B3C-6E68-C476-18401463C114}"/>
          </ac:spMkLst>
        </pc:spChg>
        <pc:spChg chg="mod">
          <ac:chgData name="元崎 直美" userId="94a5ddba-def4-4e2a-b01c-b54bd41ed526" providerId="ADAL" clId="{A3C6D7DA-B91C-7D49-8A94-0E4EFE1ED81C}" dt="2025-01-14T04:20:42.336" v="401"/>
          <ac:spMkLst>
            <pc:docMk/>
            <pc:sldMk cId="176434207" sldId="2132737975"/>
            <ac:spMk id="62" creationId="{4DFA2DFA-BFD4-54FF-965D-FD92D1AE2882}"/>
          </ac:spMkLst>
        </pc:spChg>
        <pc:spChg chg="mod">
          <ac:chgData name="元崎 直美" userId="94a5ddba-def4-4e2a-b01c-b54bd41ed526" providerId="ADAL" clId="{A3C6D7DA-B91C-7D49-8A94-0E4EFE1ED81C}" dt="2025-01-14T04:20:42.336" v="401"/>
          <ac:spMkLst>
            <pc:docMk/>
            <pc:sldMk cId="176434207" sldId="2132737975"/>
            <ac:spMk id="63" creationId="{B4F2FC47-000A-56B7-7A9D-9333440C172C}"/>
          </ac:spMkLst>
        </pc:spChg>
        <pc:spChg chg="mod">
          <ac:chgData name="元崎 直美" userId="94a5ddba-def4-4e2a-b01c-b54bd41ed526" providerId="ADAL" clId="{A3C6D7DA-B91C-7D49-8A94-0E4EFE1ED81C}" dt="2025-01-14T04:20:42.336" v="401"/>
          <ac:spMkLst>
            <pc:docMk/>
            <pc:sldMk cId="176434207" sldId="2132737975"/>
            <ac:spMk id="64" creationId="{A8E96089-C4F7-7F1B-D8AC-E1BD5E4FFC4E}"/>
          </ac:spMkLst>
        </pc:spChg>
        <pc:spChg chg="mod">
          <ac:chgData name="元崎 直美" userId="94a5ddba-def4-4e2a-b01c-b54bd41ed526" providerId="ADAL" clId="{A3C6D7DA-B91C-7D49-8A94-0E4EFE1ED81C}" dt="2025-01-14T04:20:42.336" v="401"/>
          <ac:spMkLst>
            <pc:docMk/>
            <pc:sldMk cId="176434207" sldId="2132737975"/>
            <ac:spMk id="65" creationId="{AF705610-49E1-0404-AD74-55BDAD02C060}"/>
          </ac:spMkLst>
        </pc:spChg>
        <pc:spChg chg="mod">
          <ac:chgData name="元崎 直美" userId="94a5ddba-def4-4e2a-b01c-b54bd41ed526" providerId="ADAL" clId="{A3C6D7DA-B91C-7D49-8A94-0E4EFE1ED81C}" dt="2025-01-14T04:20:42.336" v="401"/>
          <ac:spMkLst>
            <pc:docMk/>
            <pc:sldMk cId="176434207" sldId="2132737975"/>
            <ac:spMk id="66" creationId="{6072E3E5-CA85-19A0-9BFD-570D7294EF7D}"/>
          </ac:spMkLst>
        </pc:spChg>
        <pc:spChg chg="mod">
          <ac:chgData name="元崎 直美" userId="94a5ddba-def4-4e2a-b01c-b54bd41ed526" providerId="ADAL" clId="{A3C6D7DA-B91C-7D49-8A94-0E4EFE1ED81C}" dt="2025-01-14T04:20:42.336" v="401"/>
          <ac:spMkLst>
            <pc:docMk/>
            <pc:sldMk cId="176434207" sldId="2132737975"/>
            <ac:spMk id="67" creationId="{F010DA5F-80BB-D21E-B838-A97C06144E92}"/>
          </ac:spMkLst>
        </pc:spChg>
        <pc:spChg chg="add del mod">
          <ac:chgData name="元崎 直美" userId="94a5ddba-def4-4e2a-b01c-b54bd41ed526" providerId="ADAL" clId="{A3C6D7DA-B91C-7D49-8A94-0E4EFE1ED81C}" dt="2025-01-14T04:24:54.513" v="731"/>
          <ac:spMkLst>
            <pc:docMk/>
            <pc:sldMk cId="176434207" sldId="2132737975"/>
            <ac:spMk id="74" creationId="{D04C56E7-BF4C-76E6-AA24-3FD6A8AEE052}"/>
          </ac:spMkLst>
        </pc:spChg>
        <pc:spChg chg="add del mod">
          <ac:chgData name="元崎 直美" userId="94a5ddba-def4-4e2a-b01c-b54bd41ed526" providerId="ADAL" clId="{A3C6D7DA-B91C-7D49-8A94-0E4EFE1ED81C}" dt="2025-01-14T04:26:23.516" v="751" actId="478"/>
          <ac:spMkLst>
            <pc:docMk/>
            <pc:sldMk cId="176434207" sldId="2132737975"/>
            <ac:spMk id="75" creationId="{A94CD5E6-2D3F-8D2D-1B24-6A61C2E57118}"/>
          </ac:spMkLst>
        </pc:spChg>
        <pc:spChg chg="add mod">
          <ac:chgData name="元崎 直美" userId="94a5ddba-def4-4e2a-b01c-b54bd41ed526" providerId="ADAL" clId="{A3C6D7DA-B91C-7D49-8A94-0E4EFE1ED81C}" dt="2025-01-14T04:43:24.945" v="1855" actId="20577"/>
          <ac:spMkLst>
            <pc:docMk/>
            <pc:sldMk cId="176434207" sldId="2132737975"/>
            <ac:spMk id="77" creationId="{ACC500E9-A8C0-4C45-A249-2BF551447ADF}"/>
          </ac:spMkLst>
        </pc:spChg>
        <pc:spChg chg="add del mod">
          <ac:chgData name="元崎 直美" userId="94a5ddba-def4-4e2a-b01c-b54bd41ed526" providerId="ADAL" clId="{A3C6D7DA-B91C-7D49-8A94-0E4EFE1ED81C}" dt="2025-01-14T04:36:02.309" v="1339" actId="478"/>
          <ac:spMkLst>
            <pc:docMk/>
            <pc:sldMk cId="176434207" sldId="2132737975"/>
            <ac:spMk id="78" creationId="{3B20F2DF-BA06-756F-B2F0-1EE2A51CA60F}"/>
          </ac:spMkLst>
        </pc:spChg>
        <pc:spChg chg="mod">
          <ac:chgData name="元崎 直美" userId="94a5ddba-def4-4e2a-b01c-b54bd41ed526" providerId="ADAL" clId="{A3C6D7DA-B91C-7D49-8A94-0E4EFE1ED81C}" dt="2025-01-14T04:39:48.107" v="1602"/>
          <ac:spMkLst>
            <pc:docMk/>
            <pc:sldMk cId="176434207" sldId="2132737975"/>
            <ac:spMk id="80" creationId="{6BFB405E-ACC5-FC28-85D5-7CCEBF0250B3}"/>
          </ac:spMkLst>
        </pc:spChg>
        <pc:spChg chg="mod">
          <ac:chgData name="元崎 直美" userId="94a5ddba-def4-4e2a-b01c-b54bd41ed526" providerId="ADAL" clId="{A3C6D7DA-B91C-7D49-8A94-0E4EFE1ED81C}" dt="2025-01-14T04:39:48.107" v="1602"/>
          <ac:spMkLst>
            <pc:docMk/>
            <pc:sldMk cId="176434207" sldId="2132737975"/>
            <ac:spMk id="81" creationId="{7C7B241F-A640-574B-438D-CE07F102DE9E}"/>
          </ac:spMkLst>
        </pc:spChg>
        <pc:spChg chg="mod">
          <ac:chgData name="元崎 直美" userId="94a5ddba-def4-4e2a-b01c-b54bd41ed526" providerId="ADAL" clId="{A3C6D7DA-B91C-7D49-8A94-0E4EFE1ED81C}" dt="2025-01-14T04:39:48.107" v="1602"/>
          <ac:spMkLst>
            <pc:docMk/>
            <pc:sldMk cId="176434207" sldId="2132737975"/>
            <ac:spMk id="82" creationId="{BB0C86D9-D111-A015-E4BF-6DF5942C505E}"/>
          </ac:spMkLst>
        </pc:spChg>
        <pc:spChg chg="mod">
          <ac:chgData name="元崎 直美" userId="94a5ddba-def4-4e2a-b01c-b54bd41ed526" providerId="ADAL" clId="{A3C6D7DA-B91C-7D49-8A94-0E4EFE1ED81C}" dt="2025-01-14T04:39:48.107" v="1602"/>
          <ac:spMkLst>
            <pc:docMk/>
            <pc:sldMk cId="176434207" sldId="2132737975"/>
            <ac:spMk id="83" creationId="{677C545F-C527-2388-E335-4366FEB505F9}"/>
          </ac:spMkLst>
        </pc:spChg>
        <pc:spChg chg="mod">
          <ac:chgData name="元崎 直美" userId="94a5ddba-def4-4e2a-b01c-b54bd41ed526" providerId="ADAL" clId="{A3C6D7DA-B91C-7D49-8A94-0E4EFE1ED81C}" dt="2025-01-14T04:39:48.107" v="1602"/>
          <ac:spMkLst>
            <pc:docMk/>
            <pc:sldMk cId="176434207" sldId="2132737975"/>
            <ac:spMk id="84" creationId="{94AF032D-022A-FF0C-9319-A75C6FDC3759}"/>
          </ac:spMkLst>
        </pc:spChg>
        <pc:spChg chg="mod">
          <ac:chgData name="元崎 直美" userId="94a5ddba-def4-4e2a-b01c-b54bd41ed526" providerId="ADAL" clId="{A3C6D7DA-B91C-7D49-8A94-0E4EFE1ED81C}" dt="2025-01-14T04:39:48.107" v="1602"/>
          <ac:spMkLst>
            <pc:docMk/>
            <pc:sldMk cId="176434207" sldId="2132737975"/>
            <ac:spMk id="85" creationId="{766A3AC8-9975-2F4E-3E59-2EC0D7BC9460}"/>
          </ac:spMkLst>
        </pc:spChg>
        <pc:spChg chg="mod">
          <ac:chgData name="元崎 直美" userId="94a5ddba-def4-4e2a-b01c-b54bd41ed526" providerId="ADAL" clId="{A3C6D7DA-B91C-7D49-8A94-0E4EFE1ED81C}" dt="2025-01-14T04:39:48.107" v="1602"/>
          <ac:spMkLst>
            <pc:docMk/>
            <pc:sldMk cId="176434207" sldId="2132737975"/>
            <ac:spMk id="86" creationId="{7F637B1E-90F3-9999-6886-BB67B5B84951}"/>
          </ac:spMkLst>
        </pc:spChg>
        <pc:spChg chg="mod">
          <ac:chgData name="元崎 直美" userId="94a5ddba-def4-4e2a-b01c-b54bd41ed526" providerId="ADAL" clId="{A3C6D7DA-B91C-7D49-8A94-0E4EFE1ED81C}" dt="2025-01-14T04:39:48.107" v="1602"/>
          <ac:spMkLst>
            <pc:docMk/>
            <pc:sldMk cId="176434207" sldId="2132737975"/>
            <ac:spMk id="87" creationId="{D76B2FBB-0ED1-D06A-5887-CD0ABFA0EA4E}"/>
          </ac:spMkLst>
        </pc:spChg>
        <pc:spChg chg="mod">
          <ac:chgData name="元崎 直美" userId="94a5ddba-def4-4e2a-b01c-b54bd41ed526" providerId="ADAL" clId="{A3C6D7DA-B91C-7D49-8A94-0E4EFE1ED81C}" dt="2025-01-14T04:39:48.107" v="1602"/>
          <ac:spMkLst>
            <pc:docMk/>
            <pc:sldMk cId="176434207" sldId="2132737975"/>
            <ac:spMk id="88" creationId="{751E96D5-D105-08E0-5C4A-9BC5BF3D7065}"/>
          </ac:spMkLst>
        </pc:spChg>
        <pc:spChg chg="mod">
          <ac:chgData name="元崎 直美" userId="94a5ddba-def4-4e2a-b01c-b54bd41ed526" providerId="ADAL" clId="{A3C6D7DA-B91C-7D49-8A94-0E4EFE1ED81C}" dt="2025-01-14T04:39:48.107" v="1602"/>
          <ac:spMkLst>
            <pc:docMk/>
            <pc:sldMk cId="176434207" sldId="2132737975"/>
            <ac:spMk id="89" creationId="{317A4E3A-B9E6-662E-1EC4-AB91F333DB26}"/>
          </ac:spMkLst>
        </pc:spChg>
        <pc:grpChg chg="add mod">
          <ac:chgData name="元崎 直美" userId="94a5ddba-def4-4e2a-b01c-b54bd41ed526" providerId="ADAL" clId="{A3C6D7DA-B91C-7D49-8A94-0E4EFE1ED81C}" dt="2025-01-14T04:20:47.042" v="402" actId="1076"/>
          <ac:grpSpMkLst>
            <pc:docMk/>
            <pc:sldMk cId="176434207" sldId="2132737975"/>
            <ac:grpSpMk id="2" creationId="{DAAD983F-5B10-41C2-0BB1-E4871EDFE853}"/>
          </ac:grpSpMkLst>
        </pc:grpChg>
        <pc:grpChg chg="add del mod">
          <ac:chgData name="元崎 直美" userId="94a5ddba-def4-4e2a-b01c-b54bd41ed526" providerId="ADAL" clId="{A3C6D7DA-B91C-7D49-8A94-0E4EFE1ED81C}" dt="2025-01-14T04:17:52.698" v="224" actId="478"/>
          <ac:grpSpMkLst>
            <pc:docMk/>
            <pc:sldMk cId="176434207" sldId="2132737975"/>
            <ac:grpSpMk id="3" creationId="{6B0AEF87-2212-1EA2-DB89-0BC02881ACA5}"/>
          </ac:grpSpMkLst>
        </pc:grpChg>
        <pc:grpChg chg="add del mod">
          <ac:chgData name="元崎 直美" userId="94a5ddba-def4-4e2a-b01c-b54bd41ed526" providerId="ADAL" clId="{A3C6D7DA-B91C-7D49-8A94-0E4EFE1ED81C}" dt="2025-01-14T04:20:38.057" v="400" actId="478"/>
          <ac:grpSpMkLst>
            <pc:docMk/>
            <pc:sldMk cId="176434207" sldId="2132737975"/>
            <ac:grpSpMk id="27" creationId="{9CC419D1-A163-5E9F-62A0-D2F2B997A290}"/>
          </ac:grpSpMkLst>
        </pc:grpChg>
        <pc:grpChg chg="add del mod">
          <ac:chgData name="元崎 直美" userId="94a5ddba-def4-4e2a-b01c-b54bd41ed526" providerId="ADAL" clId="{A3C6D7DA-B91C-7D49-8A94-0E4EFE1ED81C}" dt="2025-01-14T04:20:47.948" v="403" actId="478"/>
          <ac:grpSpMkLst>
            <pc:docMk/>
            <pc:sldMk cId="176434207" sldId="2132737975"/>
            <ac:grpSpMk id="57" creationId="{ED6BE43A-253C-356D-4A19-B4DE35E97FCF}"/>
          </ac:grpSpMkLst>
        </pc:grpChg>
        <pc:grpChg chg="add mod">
          <ac:chgData name="元崎 直美" userId="94a5ddba-def4-4e2a-b01c-b54bd41ed526" providerId="ADAL" clId="{A3C6D7DA-B91C-7D49-8A94-0E4EFE1ED81C}" dt="2025-01-14T04:40:07.335" v="1628" actId="1035"/>
          <ac:grpSpMkLst>
            <pc:docMk/>
            <pc:sldMk cId="176434207" sldId="2132737975"/>
            <ac:grpSpMk id="76" creationId="{8BC50B3A-A986-F8E6-C816-EE0F11DCA4FD}"/>
          </ac:grpSpMkLst>
        </pc:grpChg>
        <pc:grpChg chg="add del mod">
          <ac:chgData name="元崎 直美" userId="94a5ddba-def4-4e2a-b01c-b54bd41ed526" providerId="ADAL" clId="{A3C6D7DA-B91C-7D49-8A94-0E4EFE1ED81C}" dt="2025-01-14T04:40:08.799" v="1629" actId="478"/>
          <ac:grpSpMkLst>
            <pc:docMk/>
            <pc:sldMk cId="176434207" sldId="2132737975"/>
            <ac:grpSpMk id="79" creationId="{351FCB4A-6C42-DE9E-F795-F431FD71FE7B}"/>
          </ac:grpSpMkLst>
        </pc:grpChg>
        <pc:cxnChg chg="mod">
          <ac:chgData name="元崎 直美" userId="94a5ddba-def4-4e2a-b01c-b54bd41ed526" providerId="ADAL" clId="{A3C6D7DA-B91C-7D49-8A94-0E4EFE1ED81C}" dt="2025-01-14T04:17:52.698" v="224" actId="478"/>
          <ac:cxnSpMkLst>
            <pc:docMk/>
            <pc:sldMk cId="176434207" sldId="2132737975"/>
            <ac:cxnSpMk id="15" creationId="{4C212759-171B-C8D3-B436-23FD6CA02831}"/>
          </ac:cxnSpMkLst>
        </pc:cxnChg>
        <pc:cxnChg chg="mod">
          <ac:chgData name="元崎 直美" userId="94a5ddba-def4-4e2a-b01c-b54bd41ed526" providerId="ADAL" clId="{A3C6D7DA-B91C-7D49-8A94-0E4EFE1ED81C}" dt="2025-01-14T04:17:52.698" v="224" actId="478"/>
          <ac:cxnSpMkLst>
            <pc:docMk/>
            <pc:sldMk cId="176434207" sldId="2132737975"/>
            <ac:cxnSpMk id="16" creationId="{20822223-C16F-1252-0A7F-33AF5CC2982B}"/>
          </ac:cxnSpMkLst>
        </pc:cxnChg>
        <pc:cxnChg chg="mod">
          <ac:chgData name="元崎 直美" userId="94a5ddba-def4-4e2a-b01c-b54bd41ed526" providerId="ADAL" clId="{A3C6D7DA-B91C-7D49-8A94-0E4EFE1ED81C}" dt="2025-01-14T04:17:52.698" v="224" actId="478"/>
          <ac:cxnSpMkLst>
            <pc:docMk/>
            <pc:sldMk cId="176434207" sldId="2132737975"/>
            <ac:cxnSpMk id="17" creationId="{D54A20A5-E19B-7335-0C1C-2BCDA8929653}"/>
          </ac:cxnSpMkLst>
        </pc:cxnChg>
        <pc:cxnChg chg="mod">
          <ac:chgData name="元崎 直美" userId="94a5ddba-def4-4e2a-b01c-b54bd41ed526" providerId="ADAL" clId="{A3C6D7DA-B91C-7D49-8A94-0E4EFE1ED81C}" dt="2025-01-14T04:17:52.698" v="224" actId="478"/>
          <ac:cxnSpMkLst>
            <pc:docMk/>
            <pc:sldMk cId="176434207" sldId="2132737975"/>
            <ac:cxnSpMk id="19" creationId="{91195A37-AE14-26D2-423F-D83D762DB985}"/>
          </ac:cxnSpMkLst>
        </pc:cxnChg>
        <pc:cxnChg chg="mod">
          <ac:chgData name="元崎 直美" userId="94a5ddba-def4-4e2a-b01c-b54bd41ed526" providerId="ADAL" clId="{A3C6D7DA-B91C-7D49-8A94-0E4EFE1ED81C}" dt="2025-01-14T04:17:52.698" v="224" actId="478"/>
          <ac:cxnSpMkLst>
            <pc:docMk/>
            <pc:sldMk cId="176434207" sldId="2132737975"/>
            <ac:cxnSpMk id="22" creationId="{C062E074-676C-2D0D-5D41-911175FFE657}"/>
          </ac:cxnSpMkLst>
        </pc:cxnChg>
        <pc:cxnChg chg="mod">
          <ac:chgData name="元崎 直美" userId="94a5ddba-def4-4e2a-b01c-b54bd41ed526" providerId="ADAL" clId="{A3C6D7DA-B91C-7D49-8A94-0E4EFE1ED81C}" dt="2025-01-14T04:17:52.698" v="224" actId="478"/>
          <ac:cxnSpMkLst>
            <pc:docMk/>
            <pc:sldMk cId="176434207" sldId="2132737975"/>
            <ac:cxnSpMk id="23" creationId="{5B3A2BF4-5A21-BD62-CE6E-ECEFE9603C2C}"/>
          </ac:cxnSpMkLst>
        </pc:cxnChg>
        <pc:cxnChg chg="mod">
          <ac:chgData name="元崎 直美" userId="94a5ddba-def4-4e2a-b01c-b54bd41ed526" providerId="ADAL" clId="{A3C6D7DA-B91C-7D49-8A94-0E4EFE1ED81C}" dt="2025-01-14T04:20:38.057" v="400" actId="478"/>
          <ac:cxnSpMkLst>
            <pc:docMk/>
            <pc:sldMk cId="176434207" sldId="2132737975"/>
            <ac:cxnSpMk id="51" creationId="{4E8A7D47-0DC5-A2AA-0B4E-1AE378D6B5A6}"/>
          </ac:cxnSpMkLst>
        </pc:cxnChg>
        <pc:cxnChg chg="mod">
          <ac:chgData name="元崎 直美" userId="94a5ddba-def4-4e2a-b01c-b54bd41ed526" providerId="ADAL" clId="{A3C6D7DA-B91C-7D49-8A94-0E4EFE1ED81C}" dt="2025-01-14T04:20:38.057" v="400" actId="478"/>
          <ac:cxnSpMkLst>
            <pc:docMk/>
            <pc:sldMk cId="176434207" sldId="2132737975"/>
            <ac:cxnSpMk id="52" creationId="{BDF49C0D-067E-EB7D-4DEA-DD64ED885016}"/>
          </ac:cxnSpMkLst>
        </pc:cxnChg>
        <pc:cxnChg chg="mod">
          <ac:chgData name="元崎 直美" userId="94a5ddba-def4-4e2a-b01c-b54bd41ed526" providerId="ADAL" clId="{A3C6D7DA-B91C-7D49-8A94-0E4EFE1ED81C}" dt="2025-01-14T04:20:38.057" v="400" actId="478"/>
          <ac:cxnSpMkLst>
            <pc:docMk/>
            <pc:sldMk cId="176434207" sldId="2132737975"/>
            <ac:cxnSpMk id="53" creationId="{6D668635-5637-2477-3FC6-0CBEA260F86A}"/>
          </ac:cxnSpMkLst>
        </pc:cxnChg>
        <pc:cxnChg chg="mod">
          <ac:chgData name="元崎 直美" userId="94a5ddba-def4-4e2a-b01c-b54bd41ed526" providerId="ADAL" clId="{A3C6D7DA-B91C-7D49-8A94-0E4EFE1ED81C}" dt="2025-01-14T04:20:38.057" v="400" actId="478"/>
          <ac:cxnSpMkLst>
            <pc:docMk/>
            <pc:sldMk cId="176434207" sldId="2132737975"/>
            <ac:cxnSpMk id="54" creationId="{4D45C874-DAC2-63F5-C808-E587BC31ACB4}"/>
          </ac:cxnSpMkLst>
        </pc:cxnChg>
        <pc:cxnChg chg="mod">
          <ac:chgData name="元崎 直美" userId="94a5ddba-def4-4e2a-b01c-b54bd41ed526" providerId="ADAL" clId="{A3C6D7DA-B91C-7D49-8A94-0E4EFE1ED81C}" dt="2025-01-14T04:20:38.057" v="400" actId="478"/>
          <ac:cxnSpMkLst>
            <pc:docMk/>
            <pc:sldMk cId="176434207" sldId="2132737975"/>
            <ac:cxnSpMk id="55" creationId="{5A0A5DB3-7899-6D62-E7C8-B066BCAFAE7C}"/>
          </ac:cxnSpMkLst>
        </pc:cxnChg>
        <pc:cxnChg chg="mod">
          <ac:chgData name="元崎 直美" userId="94a5ddba-def4-4e2a-b01c-b54bd41ed526" providerId="ADAL" clId="{A3C6D7DA-B91C-7D49-8A94-0E4EFE1ED81C}" dt="2025-01-14T04:20:38.057" v="400" actId="478"/>
          <ac:cxnSpMkLst>
            <pc:docMk/>
            <pc:sldMk cId="176434207" sldId="2132737975"/>
            <ac:cxnSpMk id="56" creationId="{6557432E-7D90-BDEE-2BDE-4EBE6B5E8CB1}"/>
          </ac:cxnSpMkLst>
        </pc:cxnChg>
        <pc:cxnChg chg="mod">
          <ac:chgData name="元崎 直美" userId="94a5ddba-def4-4e2a-b01c-b54bd41ed526" providerId="ADAL" clId="{A3C6D7DA-B91C-7D49-8A94-0E4EFE1ED81C}" dt="2025-01-14T04:20:47.948" v="403" actId="478"/>
          <ac:cxnSpMkLst>
            <pc:docMk/>
            <pc:sldMk cId="176434207" sldId="2132737975"/>
            <ac:cxnSpMk id="68" creationId="{1BCA7F95-77EB-42EA-2E2E-52FE4B32901B}"/>
          </ac:cxnSpMkLst>
        </pc:cxnChg>
        <pc:cxnChg chg="mod">
          <ac:chgData name="元崎 直美" userId="94a5ddba-def4-4e2a-b01c-b54bd41ed526" providerId="ADAL" clId="{A3C6D7DA-B91C-7D49-8A94-0E4EFE1ED81C}" dt="2025-01-14T04:20:47.948" v="403" actId="478"/>
          <ac:cxnSpMkLst>
            <pc:docMk/>
            <pc:sldMk cId="176434207" sldId="2132737975"/>
            <ac:cxnSpMk id="69" creationId="{A4168D42-0AE7-2BB3-FB48-6169B585ADB0}"/>
          </ac:cxnSpMkLst>
        </pc:cxnChg>
        <pc:cxnChg chg="mod">
          <ac:chgData name="元崎 直美" userId="94a5ddba-def4-4e2a-b01c-b54bd41ed526" providerId="ADAL" clId="{A3C6D7DA-B91C-7D49-8A94-0E4EFE1ED81C}" dt="2025-01-14T04:20:47.948" v="403" actId="478"/>
          <ac:cxnSpMkLst>
            <pc:docMk/>
            <pc:sldMk cId="176434207" sldId="2132737975"/>
            <ac:cxnSpMk id="70" creationId="{07AF0B07-BC8F-B2DB-4F75-9C41CB613D00}"/>
          </ac:cxnSpMkLst>
        </pc:cxnChg>
        <pc:cxnChg chg="mod">
          <ac:chgData name="元崎 直美" userId="94a5ddba-def4-4e2a-b01c-b54bd41ed526" providerId="ADAL" clId="{A3C6D7DA-B91C-7D49-8A94-0E4EFE1ED81C}" dt="2025-01-14T04:20:47.948" v="403" actId="478"/>
          <ac:cxnSpMkLst>
            <pc:docMk/>
            <pc:sldMk cId="176434207" sldId="2132737975"/>
            <ac:cxnSpMk id="71" creationId="{BF2DD750-33CD-0DC8-F2CC-275A917DEB52}"/>
          </ac:cxnSpMkLst>
        </pc:cxnChg>
        <pc:cxnChg chg="mod">
          <ac:chgData name="元崎 直美" userId="94a5ddba-def4-4e2a-b01c-b54bd41ed526" providerId="ADAL" clId="{A3C6D7DA-B91C-7D49-8A94-0E4EFE1ED81C}" dt="2025-01-14T04:20:47.948" v="403" actId="478"/>
          <ac:cxnSpMkLst>
            <pc:docMk/>
            <pc:sldMk cId="176434207" sldId="2132737975"/>
            <ac:cxnSpMk id="72" creationId="{866564BA-D152-1C81-27EA-7007BC00C629}"/>
          </ac:cxnSpMkLst>
        </pc:cxnChg>
        <pc:cxnChg chg="mod">
          <ac:chgData name="元崎 直美" userId="94a5ddba-def4-4e2a-b01c-b54bd41ed526" providerId="ADAL" clId="{A3C6D7DA-B91C-7D49-8A94-0E4EFE1ED81C}" dt="2025-01-14T04:20:47.948" v="403" actId="478"/>
          <ac:cxnSpMkLst>
            <pc:docMk/>
            <pc:sldMk cId="176434207" sldId="2132737975"/>
            <ac:cxnSpMk id="73" creationId="{D41642C8-7D4A-87B8-D7FB-4DE8F37A1D78}"/>
          </ac:cxnSpMkLst>
        </pc:cxnChg>
        <pc:cxnChg chg="mod">
          <ac:chgData name="元崎 直美" userId="94a5ddba-def4-4e2a-b01c-b54bd41ed526" providerId="ADAL" clId="{A3C6D7DA-B91C-7D49-8A94-0E4EFE1ED81C}" dt="2025-01-14T04:40:08.799" v="1629" actId="478"/>
          <ac:cxnSpMkLst>
            <pc:docMk/>
            <pc:sldMk cId="176434207" sldId="2132737975"/>
            <ac:cxnSpMk id="90" creationId="{FEE5A9EB-216C-6F58-9134-705246506081}"/>
          </ac:cxnSpMkLst>
        </pc:cxnChg>
        <pc:cxnChg chg="mod">
          <ac:chgData name="元崎 直美" userId="94a5ddba-def4-4e2a-b01c-b54bd41ed526" providerId="ADAL" clId="{A3C6D7DA-B91C-7D49-8A94-0E4EFE1ED81C}" dt="2025-01-14T04:40:08.799" v="1629" actId="478"/>
          <ac:cxnSpMkLst>
            <pc:docMk/>
            <pc:sldMk cId="176434207" sldId="2132737975"/>
            <ac:cxnSpMk id="91" creationId="{8BC5A76D-9F24-7263-49E3-8502F27D54B7}"/>
          </ac:cxnSpMkLst>
        </pc:cxnChg>
        <pc:cxnChg chg="mod">
          <ac:chgData name="元崎 直美" userId="94a5ddba-def4-4e2a-b01c-b54bd41ed526" providerId="ADAL" clId="{A3C6D7DA-B91C-7D49-8A94-0E4EFE1ED81C}" dt="2025-01-14T04:40:08.799" v="1629" actId="478"/>
          <ac:cxnSpMkLst>
            <pc:docMk/>
            <pc:sldMk cId="176434207" sldId="2132737975"/>
            <ac:cxnSpMk id="92" creationId="{BF4F4541-F323-569C-92E4-B6F243552A2B}"/>
          </ac:cxnSpMkLst>
        </pc:cxnChg>
        <pc:cxnChg chg="mod">
          <ac:chgData name="元崎 直美" userId="94a5ddba-def4-4e2a-b01c-b54bd41ed526" providerId="ADAL" clId="{A3C6D7DA-B91C-7D49-8A94-0E4EFE1ED81C}" dt="2025-01-14T04:40:08.799" v="1629" actId="478"/>
          <ac:cxnSpMkLst>
            <pc:docMk/>
            <pc:sldMk cId="176434207" sldId="2132737975"/>
            <ac:cxnSpMk id="93" creationId="{5873FC3F-3C74-C70E-5E45-1992A8CDB223}"/>
          </ac:cxnSpMkLst>
        </pc:cxnChg>
        <pc:cxnChg chg="mod">
          <ac:chgData name="元崎 直美" userId="94a5ddba-def4-4e2a-b01c-b54bd41ed526" providerId="ADAL" clId="{A3C6D7DA-B91C-7D49-8A94-0E4EFE1ED81C}" dt="2025-01-14T04:40:08.799" v="1629" actId="478"/>
          <ac:cxnSpMkLst>
            <pc:docMk/>
            <pc:sldMk cId="176434207" sldId="2132737975"/>
            <ac:cxnSpMk id="94" creationId="{5ADA5A1D-96E1-5F42-90E4-9BBE152C92A6}"/>
          </ac:cxnSpMkLst>
        </pc:cxnChg>
        <pc:cxnChg chg="mod">
          <ac:chgData name="元崎 直美" userId="94a5ddba-def4-4e2a-b01c-b54bd41ed526" providerId="ADAL" clId="{A3C6D7DA-B91C-7D49-8A94-0E4EFE1ED81C}" dt="2025-01-14T04:40:08.799" v="1629" actId="478"/>
          <ac:cxnSpMkLst>
            <pc:docMk/>
            <pc:sldMk cId="176434207" sldId="2132737975"/>
            <ac:cxnSpMk id="95" creationId="{7AC9E2D7-FE23-1DF4-DC6D-0F91B811D84A}"/>
          </ac:cxnSpMkLst>
        </pc:cxnChg>
      </pc:sldChg>
      <pc:sldChg chg="addSp modSp mod ord modShow">
        <pc:chgData name="元崎 直美" userId="94a5ddba-def4-4e2a-b01c-b54bd41ed526" providerId="ADAL" clId="{A3C6D7DA-B91C-7D49-8A94-0E4EFE1ED81C}" dt="2025-01-14T04:17:16.729" v="213" actId="20578"/>
        <pc:sldMkLst>
          <pc:docMk/>
          <pc:sldMk cId="515708478" sldId="2132737977"/>
        </pc:sldMkLst>
        <pc:spChg chg="add mod">
          <ac:chgData name="元崎 直美" userId="94a5ddba-def4-4e2a-b01c-b54bd41ed526" providerId="ADAL" clId="{A3C6D7DA-B91C-7D49-8A94-0E4EFE1ED81C}" dt="2025-01-14T04:17:12.146" v="211" actId="20577"/>
          <ac:spMkLst>
            <pc:docMk/>
            <pc:sldMk cId="515708478" sldId="2132737977"/>
            <ac:spMk id="2" creationId="{470F4F78-9DE9-1A98-03E2-9CE42D1E1D51}"/>
          </ac:spMkLst>
        </pc:spChg>
        <pc:spChg chg="mod">
          <ac:chgData name="元崎 直美" userId="94a5ddba-def4-4e2a-b01c-b54bd41ed526" providerId="ADAL" clId="{A3C6D7DA-B91C-7D49-8A94-0E4EFE1ED81C}" dt="2025-01-14T04:14:49.170" v="158" actId="1076"/>
          <ac:spMkLst>
            <pc:docMk/>
            <pc:sldMk cId="515708478" sldId="2132737977"/>
            <ac:spMk id="5" creationId="{9D2937D4-039E-7320-2CF5-4913F028F9B8}"/>
          </ac:spMkLst>
        </pc:spChg>
      </pc:sldChg>
      <pc:sldChg chg="addSp delSp modSp add mod">
        <pc:chgData name="元崎 直美" userId="94a5ddba-def4-4e2a-b01c-b54bd41ed526" providerId="ADAL" clId="{A3C6D7DA-B91C-7D49-8A94-0E4EFE1ED81C}" dt="2025-01-14T04:42:03.703" v="1824" actId="20577"/>
        <pc:sldMkLst>
          <pc:docMk/>
          <pc:sldMk cId="2051184083" sldId="2132738020"/>
        </pc:sldMkLst>
        <pc:spChg chg="mod">
          <ac:chgData name="元崎 直美" userId="94a5ddba-def4-4e2a-b01c-b54bd41ed526" providerId="ADAL" clId="{A3C6D7DA-B91C-7D49-8A94-0E4EFE1ED81C}" dt="2025-01-14T04:16:35.726" v="187" actId="122"/>
          <ac:spMkLst>
            <pc:docMk/>
            <pc:sldMk cId="2051184083" sldId="2132738020"/>
            <ac:spMk id="2" creationId="{32E6C676-E60B-5DE1-671D-73C9BD697368}"/>
          </ac:spMkLst>
        </pc:spChg>
        <pc:spChg chg="add mod">
          <ac:chgData name="元崎 直美" userId="94a5ddba-def4-4e2a-b01c-b54bd41ed526" providerId="ADAL" clId="{A3C6D7DA-B91C-7D49-8A94-0E4EFE1ED81C}" dt="2025-01-14T04:42:03.703" v="1824" actId="20577"/>
          <ac:spMkLst>
            <pc:docMk/>
            <pc:sldMk cId="2051184083" sldId="2132738020"/>
            <ac:spMk id="3" creationId="{433F7D91-AB9D-A950-5E89-6CD50829BCD5}"/>
          </ac:spMkLst>
        </pc:spChg>
        <pc:spChg chg="mod">
          <ac:chgData name="元崎 直美" userId="94a5ddba-def4-4e2a-b01c-b54bd41ed526" providerId="ADAL" clId="{A3C6D7DA-B91C-7D49-8A94-0E4EFE1ED81C}" dt="2025-01-14T04:15:54.951" v="166" actId="20577"/>
          <ac:spMkLst>
            <pc:docMk/>
            <pc:sldMk cId="2051184083" sldId="2132738020"/>
            <ac:spMk id="4" creationId="{8F97C18E-FCF8-A248-7B10-552DBAB4815D}"/>
          </ac:spMkLst>
        </pc:spChg>
        <pc:spChg chg="del mod">
          <ac:chgData name="元崎 直美" userId="94a5ddba-def4-4e2a-b01c-b54bd41ed526" providerId="ADAL" clId="{A3C6D7DA-B91C-7D49-8A94-0E4EFE1ED81C}" dt="2025-01-14T04:41:16.879" v="1644" actId="478"/>
          <ac:spMkLst>
            <pc:docMk/>
            <pc:sldMk cId="2051184083" sldId="2132738020"/>
            <ac:spMk id="6" creationId="{77D85307-18A4-D1F9-071C-5460B6F92D64}"/>
          </ac:spMkLst>
        </pc:spChg>
        <pc:spChg chg="mod topLvl">
          <ac:chgData name="元崎 直美" userId="94a5ddba-def4-4e2a-b01c-b54bd41ed526" providerId="ADAL" clId="{A3C6D7DA-B91C-7D49-8A94-0E4EFE1ED81C}" dt="2025-01-14T04:16:36.148" v="188" actId="122"/>
          <ac:spMkLst>
            <pc:docMk/>
            <pc:sldMk cId="2051184083" sldId="2132738020"/>
            <ac:spMk id="29" creationId="{FF11E904-196E-CD52-9E25-2236B1D0B955}"/>
          </ac:spMkLst>
        </pc:spChg>
        <pc:grpChg chg="del mod topLvl">
          <ac:chgData name="元崎 直美" userId="94a5ddba-def4-4e2a-b01c-b54bd41ed526" providerId="ADAL" clId="{A3C6D7DA-B91C-7D49-8A94-0E4EFE1ED81C}" dt="2025-01-14T04:16:22.470" v="184" actId="165"/>
          <ac:grpSpMkLst>
            <pc:docMk/>
            <pc:sldMk cId="2051184083" sldId="2132738020"/>
            <ac:grpSpMk id="35" creationId="{CEF1D662-45FB-C568-43C1-06D3DBE5CE13}"/>
          </ac:grpSpMkLst>
        </pc:grpChg>
        <pc:grpChg chg="del mod">
          <ac:chgData name="元崎 直美" userId="94a5ddba-def4-4e2a-b01c-b54bd41ed526" providerId="ADAL" clId="{A3C6D7DA-B91C-7D49-8A94-0E4EFE1ED81C}" dt="2025-01-14T04:16:21.103" v="183" actId="165"/>
          <ac:grpSpMkLst>
            <pc:docMk/>
            <pc:sldMk cId="2051184083" sldId="2132738020"/>
            <ac:grpSpMk id="36" creationId="{F55E7175-48F8-9A83-E4BA-BAAF9024D1FF}"/>
          </ac:grpSpMkLst>
        </pc:grpChg>
        <pc:grpChg chg="mod">
          <ac:chgData name="元崎 直美" userId="94a5ddba-def4-4e2a-b01c-b54bd41ed526" providerId="ADAL" clId="{A3C6D7DA-B91C-7D49-8A94-0E4EFE1ED81C}" dt="2025-01-14T04:16:18.581" v="182" actId="1076"/>
          <ac:grpSpMkLst>
            <pc:docMk/>
            <pc:sldMk cId="2051184083" sldId="2132738020"/>
            <ac:grpSpMk id="37" creationId="{EADDC3B5-0BB5-5DCF-FDC4-A4EB917084EE}"/>
          </ac:grpSpMkLst>
        </pc:grpChg>
        <pc:picChg chg="mod topLvl">
          <ac:chgData name="元崎 直美" userId="94a5ddba-def4-4e2a-b01c-b54bd41ed526" providerId="ADAL" clId="{A3C6D7DA-B91C-7D49-8A94-0E4EFE1ED81C}" dt="2025-01-14T04:16:22.470" v="184" actId="165"/>
          <ac:picMkLst>
            <pc:docMk/>
            <pc:sldMk cId="2051184083" sldId="2132738020"/>
            <ac:picMk id="1028" creationId="{E8E91E4C-5A87-8735-E67A-F6ECF3ACBA2E}"/>
          </ac:picMkLst>
        </pc:picChg>
        <pc:picChg chg="mod">
          <ac:chgData name="元崎 直美" userId="94a5ddba-def4-4e2a-b01c-b54bd41ed526" providerId="ADAL" clId="{A3C6D7DA-B91C-7D49-8A94-0E4EFE1ED81C}" dt="2025-01-14T04:16:18.581" v="182" actId="1076"/>
          <ac:picMkLst>
            <pc:docMk/>
            <pc:sldMk cId="2051184083" sldId="2132738020"/>
            <ac:picMk id="1030" creationId="{3F60EDA7-D479-F59E-A76E-02F090574E6B}"/>
          </ac:picMkLst>
        </pc:picChg>
        <pc:picChg chg="mod">
          <ac:chgData name="元崎 直美" userId="94a5ddba-def4-4e2a-b01c-b54bd41ed526" providerId="ADAL" clId="{A3C6D7DA-B91C-7D49-8A94-0E4EFE1ED81C}" dt="2025-01-14T04:16:18.581" v="182" actId="1076"/>
          <ac:picMkLst>
            <pc:docMk/>
            <pc:sldMk cId="2051184083" sldId="2132738020"/>
            <ac:picMk id="1032" creationId="{BB6820BB-6EAE-23FD-78E4-6ACBA8CD56CE}"/>
          </ac:picMkLst>
        </pc:picChg>
        <pc:picChg chg="mod topLvl">
          <ac:chgData name="元崎 直美" userId="94a5ddba-def4-4e2a-b01c-b54bd41ed526" providerId="ADAL" clId="{A3C6D7DA-B91C-7D49-8A94-0E4EFE1ED81C}" dt="2025-01-14T04:16:21.103" v="183" actId="165"/>
          <ac:picMkLst>
            <pc:docMk/>
            <pc:sldMk cId="2051184083" sldId="2132738020"/>
            <ac:picMk id="1034" creationId="{7E1B7950-70EA-0D03-6152-7BE0FC09713C}"/>
          </ac:picMkLst>
        </pc:picChg>
      </pc:sldChg>
    </pc:docChg>
  </pc:docChgLst>
  <pc:docChgLst>
    <pc:chgData name="長縄 一輝" userId="S::i.naganawa@regacy-innovation.com::6e752ca5-6cac-4d39-b3c0-119993377875" providerId="AD" clId="Web-{FAD24A1E-C810-A167-4CFE-E9C6EDB7EE5B}"/>
    <pc:docChg chg="addSld delSld modSld sldOrd modSection">
      <pc:chgData name="長縄 一輝" userId="S::i.naganawa@regacy-innovation.com::6e752ca5-6cac-4d39-b3c0-119993377875" providerId="AD" clId="Web-{FAD24A1E-C810-A167-4CFE-E9C6EDB7EE5B}" dt="2025-01-06T03:00:53.099" v="196" actId="20577"/>
      <pc:docMkLst>
        <pc:docMk/>
      </pc:docMkLst>
      <pc:sldChg chg="addSp delSp">
        <pc:chgData name="長縄 一輝" userId="S::i.naganawa@regacy-innovation.com::6e752ca5-6cac-4d39-b3c0-119993377875" providerId="AD" clId="Web-{FAD24A1E-C810-A167-4CFE-E9C6EDB7EE5B}" dt="2025-01-06T02:46:08.450" v="104"/>
        <pc:sldMkLst>
          <pc:docMk/>
          <pc:sldMk cId="1044353484" sldId="2132737973"/>
        </pc:sldMkLst>
        <pc:spChg chg="add del">
          <ac:chgData name="長縄 一輝" userId="S::i.naganawa@regacy-innovation.com::6e752ca5-6cac-4d39-b3c0-119993377875" providerId="AD" clId="Web-{FAD24A1E-C810-A167-4CFE-E9C6EDB7EE5B}" dt="2025-01-06T02:46:08.450" v="104"/>
          <ac:spMkLst>
            <pc:docMk/>
            <pc:sldMk cId="1044353484" sldId="2132737973"/>
            <ac:spMk id="2" creationId="{1E9B3D89-5D0C-02F7-65A1-4F7B4790019C}"/>
          </ac:spMkLst>
        </pc:spChg>
      </pc:sldChg>
      <pc:sldChg chg="addSp delSp modSp add ord replId">
        <pc:chgData name="長縄 一輝" userId="S::i.naganawa@regacy-innovation.com::6e752ca5-6cac-4d39-b3c0-119993377875" providerId="AD" clId="Web-{FAD24A1E-C810-A167-4CFE-E9C6EDB7EE5B}" dt="2025-01-06T03:00:53.099" v="196" actId="20577"/>
        <pc:sldMkLst>
          <pc:docMk/>
          <pc:sldMk cId="515708478" sldId="2132737977"/>
        </pc:sldMkLst>
        <pc:spChg chg="del">
          <ac:chgData name="長縄 一輝" userId="S::i.naganawa@regacy-innovation.com::6e752ca5-6cac-4d39-b3c0-119993377875" providerId="AD" clId="Web-{FAD24A1E-C810-A167-4CFE-E9C6EDB7EE5B}" dt="2025-01-06T02:32:19.474" v="3"/>
          <ac:spMkLst>
            <pc:docMk/>
            <pc:sldMk cId="515708478" sldId="2132737977"/>
            <ac:spMk id="2" creationId="{1E9B3D89-5D0C-02F7-65A1-4F7B4790019C}"/>
          </ac:spMkLst>
        </pc:spChg>
        <pc:spChg chg="add mod">
          <ac:chgData name="長縄 一輝" userId="S::i.naganawa@regacy-innovation.com::6e752ca5-6cac-4d39-b3c0-119993377875" providerId="AD" clId="Web-{FAD24A1E-C810-A167-4CFE-E9C6EDB7EE5B}" dt="2025-01-06T03:00:53.099" v="196" actId="20577"/>
          <ac:spMkLst>
            <pc:docMk/>
            <pc:sldMk cId="515708478" sldId="2132737977"/>
            <ac:spMk id="5" creationId="{9D2937D4-039E-7320-2CF5-4913F028F9B8}"/>
          </ac:spMkLst>
        </pc:spChg>
        <pc:spChg chg="add mod">
          <ac:chgData name="長縄 一輝" userId="S::i.naganawa@regacy-innovation.com::6e752ca5-6cac-4d39-b3c0-119993377875" providerId="AD" clId="Web-{FAD24A1E-C810-A167-4CFE-E9C6EDB7EE5B}" dt="2025-01-06T02:59:53.347" v="170" actId="20577"/>
          <ac:spMkLst>
            <pc:docMk/>
            <pc:sldMk cId="515708478" sldId="2132737977"/>
            <ac:spMk id="6" creationId="{AB44D12E-8F9B-F63E-A033-47BA681D4616}"/>
          </ac:spMkLst>
        </pc:spChg>
        <pc:spChg chg="add del">
          <ac:chgData name="長縄 一輝" userId="S::i.naganawa@regacy-innovation.com::6e752ca5-6cac-4d39-b3c0-119993377875" providerId="AD" clId="Web-{FAD24A1E-C810-A167-4CFE-E9C6EDB7EE5B}" dt="2025-01-06T02:54:49.933" v="137"/>
          <ac:spMkLst>
            <pc:docMk/>
            <pc:sldMk cId="515708478" sldId="2132737977"/>
            <ac:spMk id="7" creationId="{AB44D12E-8F9B-F63E-A033-47BA681D4616}"/>
          </ac:spMkLst>
        </pc:spChg>
        <pc:spChg chg="mod">
          <ac:chgData name="長縄 一輝" userId="S::i.naganawa@regacy-innovation.com::6e752ca5-6cac-4d39-b3c0-119993377875" providerId="AD" clId="Web-{FAD24A1E-C810-A167-4CFE-E9C6EDB7EE5B}" dt="2025-01-06T02:38:30.750" v="36" actId="20577"/>
          <ac:spMkLst>
            <pc:docMk/>
            <pc:sldMk cId="515708478" sldId="2132737977"/>
            <ac:spMk id="24" creationId="{5B95267C-0DB0-A8CA-46F2-CC5C3BCC3793}"/>
          </ac:spMkLst>
        </pc:spChg>
        <pc:spChg chg="mod">
          <ac:chgData name="長縄 一輝" userId="S::i.naganawa@regacy-innovation.com::6e752ca5-6cac-4d39-b3c0-119993377875" providerId="AD" clId="Web-{FAD24A1E-C810-A167-4CFE-E9C6EDB7EE5B}" dt="2025-01-06T02:37:11.326" v="17" actId="20577"/>
          <ac:spMkLst>
            <pc:docMk/>
            <pc:sldMk cId="515708478" sldId="2132737977"/>
            <ac:spMk id="25" creationId="{00FF0BB6-E791-143D-A14E-A81A71EB1C9F}"/>
          </ac:spMkLst>
        </pc:spChg>
        <pc:spChg chg="mod">
          <ac:chgData name="長縄 一輝" userId="S::i.naganawa@regacy-innovation.com::6e752ca5-6cac-4d39-b3c0-119993377875" providerId="AD" clId="Web-{FAD24A1E-C810-A167-4CFE-E9C6EDB7EE5B}" dt="2025-01-06T02:38:40.687" v="38" actId="20577"/>
          <ac:spMkLst>
            <pc:docMk/>
            <pc:sldMk cId="515708478" sldId="2132737977"/>
            <ac:spMk id="26" creationId="{682FE1DE-D253-0A43-6083-B88AEEFAC408}"/>
          </ac:spMkLst>
        </pc:spChg>
        <pc:spChg chg="mod">
          <ac:chgData name="長縄 一輝" userId="S::i.naganawa@regacy-innovation.com::6e752ca5-6cac-4d39-b3c0-119993377875" providerId="AD" clId="Web-{FAD24A1E-C810-A167-4CFE-E9C6EDB7EE5B}" dt="2025-01-06T02:39:15.548" v="44" actId="20577"/>
          <ac:spMkLst>
            <pc:docMk/>
            <pc:sldMk cId="515708478" sldId="2132737977"/>
            <ac:spMk id="29" creationId="{4D8126C5-E4E6-1DAD-1023-09EB93C35EE2}"/>
          </ac:spMkLst>
        </pc:spChg>
        <pc:spChg chg="mod">
          <ac:chgData name="長縄 一輝" userId="S::i.naganawa@regacy-innovation.com::6e752ca5-6cac-4d39-b3c0-119993377875" providerId="AD" clId="Web-{FAD24A1E-C810-A167-4CFE-E9C6EDB7EE5B}" dt="2025-01-06T02:39:32.314" v="47" actId="20577"/>
          <ac:spMkLst>
            <pc:docMk/>
            <pc:sldMk cId="515708478" sldId="2132737977"/>
            <ac:spMk id="32" creationId="{D0DEC046-86DA-7815-B090-6DEC37F2F3E3}"/>
          </ac:spMkLst>
        </pc:spChg>
        <pc:spChg chg="mod">
          <ac:chgData name="長縄 一輝" userId="S::i.naganawa@regacy-innovation.com::6e752ca5-6cac-4d39-b3c0-119993377875" providerId="AD" clId="Web-{FAD24A1E-C810-A167-4CFE-E9C6EDB7EE5B}" dt="2025-01-06T02:46:34.185" v="105" actId="20577"/>
          <ac:spMkLst>
            <pc:docMk/>
            <pc:sldMk cId="515708478" sldId="2132737977"/>
            <ac:spMk id="33" creationId="{9583E1FF-3D6D-2E6F-79DA-A6FC5166A8F1}"/>
          </ac:spMkLst>
        </pc:spChg>
        <pc:spChg chg="mod">
          <ac:chgData name="長縄 一輝" userId="S::i.naganawa@regacy-innovation.com::6e752ca5-6cac-4d39-b3c0-119993377875" providerId="AD" clId="Web-{FAD24A1E-C810-A167-4CFE-E9C6EDB7EE5B}" dt="2025-01-06T02:42:05.724" v="85" actId="20577"/>
          <ac:spMkLst>
            <pc:docMk/>
            <pc:sldMk cId="515708478" sldId="2132737977"/>
            <ac:spMk id="34" creationId="{CA15AC91-6A69-F877-1A0E-1E46159FC0C0}"/>
          </ac:spMkLst>
        </pc:spChg>
        <pc:cxnChg chg="mod">
          <ac:chgData name="長縄 一輝" userId="S::i.naganawa@regacy-innovation.com::6e752ca5-6cac-4d39-b3c0-119993377875" providerId="AD" clId="Web-{FAD24A1E-C810-A167-4CFE-E9C6EDB7EE5B}" dt="2025-01-06T02:36:59.872" v="8" actId="1076"/>
          <ac:cxnSpMkLst>
            <pc:docMk/>
            <pc:sldMk cId="515708478" sldId="2132737977"/>
            <ac:cxnSpMk id="38" creationId="{CCBAB8DE-C4AB-547C-9DE2-BD4AE6E2104A}"/>
          </ac:cxnSpMkLst>
        </pc:cxnChg>
      </pc:sldChg>
      <pc:sldChg chg="add del replId">
        <pc:chgData name="長縄 一輝" userId="S::i.naganawa@regacy-innovation.com::6e752ca5-6cac-4d39-b3c0-119993377875" providerId="AD" clId="Web-{FAD24A1E-C810-A167-4CFE-E9C6EDB7EE5B}" dt="2025-01-06T02:45:45.652" v="96"/>
        <pc:sldMkLst>
          <pc:docMk/>
          <pc:sldMk cId="1606642669" sldId="213273797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83FBD95-988C-9CC0-8044-2373B1C8C8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latin typeface="BIZ UDPゴシック" panose="020B0400000000000000" pitchFamily="50" charset="-128"/>
              <a:ea typeface="BIZ UDPゴシック" panose="020B0400000000000000" pitchFamily="50" charset="-128"/>
            </a:endParaRPr>
          </a:p>
        </p:txBody>
      </p:sp>
      <p:sp>
        <p:nvSpPr>
          <p:cNvPr id="3" name="日付プレースホルダー 2">
            <a:extLst>
              <a:ext uri="{FF2B5EF4-FFF2-40B4-BE49-F238E27FC236}">
                <a16:creationId xmlns:a16="http://schemas.microsoft.com/office/drawing/2014/main" id="{77394DBE-5782-A8D4-82BE-8CAD9C7B97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26266B-500D-4C85-9FE1-30D18799FB9A}" type="datetimeFigureOut">
              <a:rPr kumimoji="1" lang="ja-JP" altLang="en-US" smtClean="0">
                <a:latin typeface="BIZ UDPゴシック" panose="020B0400000000000000" pitchFamily="50" charset="-128"/>
                <a:ea typeface="BIZ UDPゴシック" panose="020B0400000000000000" pitchFamily="50" charset="-128"/>
              </a:rPr>
              <a:t>2025/1/24</a:t>
            </a:fld>
            <a:endParaRPr kumimoji="1" lang="ja-JP" altLang="en-US">
              <a:latin typeface="BIZ UDPゴシック" panose="020B0400000000000000" pitchFamily="50" charset="-128"/>
              <a:ea typeface="BIZ UDPゴシック" panose="020B0400000000000000" pitchFamily="50" charset="-128"/>
            </a:endParaRPr>
          </a:p>
        </p:txBody>
      </p:sp>
      <p:sp>
        <p:nvSpPr>
          <p:cNvPr id="4" name="フッター プレースホルダー 3">
            <a:extLst>
              <a:ext uri="{FF2B5EF4-FFF2-40B4-BE49-F238E27FC236}">
                <a16:creationId xmlns:a16="http://schemas.microsoft.com/office/drawing/2014/main" id="{69A33F70-44BF-16D8-8BD1-CA193ED9BD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9ECD85CA-73E0-AFC9-D0F3-0735E949E6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F739E6-3853-461A-8F93-323C2366B1D3}" type="slidenum">
              <a:rPr kumimoji="1" lang="ja-JP" altLang="en-US" smtClean="0">
                <a:latin typeface="BIZ UDPゴシック" panose="020B0400000000000000" pitchFamily="50" charset="-128"/>
                <a:ea typeface="BIZ UDPゴシック" panose="020B0400000000000000" pitchFamily="50" charset="-128"/>
              </a:rPr>
              <a:t>‹#›</a:t>
            </a:fld>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147882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E4CDC7-BDA5-C24F-A309-CF696326A273}" type="datetimeFigureOut">
              <a:rPr kumimoji="1" lang="ja-JP" altLang="en-US" smtClean="0"/>
              <a:t>2025/1/2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1231EC-9B47-FC41-A7B9-C6FD5E111738}" type="slidenum">
              <a:rPr kumimoji="1" lang="ja-JP" altLang="en-US" smtClean="0"/>
              <a:t>‹#›</a:t>
            </a:fld>
            <a:endParaRPr kumimoji="1" lang="ja-JP" altLang="en-US"/>
          </a:p>
        </p:txBody>
      </p:sp>
    </p:spTree>
    <p:extLst>
      <p:ext uri="{BB962C8B-B14F-4D97-AF65-F5344CB8AC3E}">
        <p14:creationId xmlns:p14="http://schemas.microsoft.com/office/powerpoint/2010/main" val="94745930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CD5C2-CA8B-62DD-24F1-FD04712229F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0E74E26-6756-FCB1-E5D9-FE2F5DC939D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656B3D6-2A50-12FF-598F-D0D7202EECC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7D6203E-AD4A-8EC4-08B7-C18124134167}"/>
              </a:ext>
            </a:extLst>
          </p:cNvPr>
          <p:cNvSpPr>
            <a:spLocks noGrp="1"/>
          </p:cNvSpPr>
          <p:nvPr>
            <p:ph type="sldNum" sz="quarter" idx="5"/>
          </p:nvPr>
        </p:nvSpPr>
        <p:spPr/>
        <p:txBody>
          <a:bodyPr/>
          <a:lstStyle/>
          <a:p>
            <a:fld id="{031231EC-9B47-FC41-A7B9-C6FD5E111738}" type="slidenum">
              <a:rPr kumimoji="1" lang="ja-JP" altLang="en-US" smtClean="0"/>
              <a:t>1</a:t>
            </a:fld>
            <a:endParaRPr kumimoji="1" lang="ja-JP" altLang="en-US"/>
          </a:p>
        </p:txBody>
      </p:sp>
    </p:spTree>
    <p:extLst>
      <p:ext uri="{BB962C8B-B14F-4D97-AF65-F5344CB8AC3E}">
        <p14:creationId xmlns:p14="http://schemas.microsoft.com/office/powerpoint/2010/main" val="843992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D56FE-EA12-F549-94DB-3B33A824E14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EBB0D04-5D28-ED74-B812-89FA03681C2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B965806-4638-2484-4567-65854E7EEAD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F8B3907-2BE5-8A5F-1547-07764E09EA23}"/>
              </a:ext>
            </a:extLst>
          </p:cNvPr>
          <p:cNvSpPr>
            <a:spLocks noGrp="1"/>
          </p:cNvSpPr>
          <p:nvPr>
            <p:ph type="sldNum" sz="quarter" idx="5"/>
          </p:nvPr>
        </p:nvSpPr>
        <p:spPr/>
        <p:txBody>
          <a:bodyPr/>
          <a:lstStyle/>
          <a:p>
            <a:fld id="{031231EC-9B47-FC41-A7B9-C6FD5E111738}" type="slidenum">
              <a:rPr kumimoji="1" lang="ja-JP" altLang="en-US" smtClean="0"/>
              <a:t>2</a:t>
            </a:fld>
            <a:endParaRPr kumimoji="1" lang="ja-JP" altLang="en-US"/>
          </a:p>
        </p:txBody>
      </p:sp>
    </p:spTree>
    <p:extLst>
      <p:ext uri="{BB962C8B-B14F-4D97-AF65-F5344CB8AC3E}">
        <p14:creationId xmlns:p14="http://schemas.microsoft.com/office/powerpoint/2010/main" val="1728312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8" name="Google Shape;7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D6A5761-46BF-0849-BF12-E890673FBA72}"/>
              </a:ext>
            </a:extLst>
          </p:cNvPr>
          <p:cNvSpPr>
            <a:spLocks noGrp="1"/>
          </p:cNvSpPr>
          <p:nvPr>
            <p:ph type="body" sz="half" idx="10" hasCustomPrompt="1"/>
          </p:nvPr>
        </p:nvSpPr>
        <p:spPr>
          <a:xfrm>
            <a:off x="719590" y="4433628"/>
            <a:ext cx="7803372" cy="253108"/>
          </a:xfrm>
          <a:prstGeom prst="rect">
            <a:avLst/>
          </a:prstGeom>
        </p:spPr>
        <p:txBody>
          <a:bodyPr>
            <a:noAutofit/>
          </a:bodyPr>
          <a:lstStyle>
            <a:lvl1pPr marL="0" indent="0">
              <a:lnSpc>
                <a:spcPts val="1200"/>
              </a:lnSpc>
              <a:buNone/>
              <a:defRPr sz="10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XX</a:t>
            </a:r>
            <a:r>
              <a:rPr lang="ja-JP" altLang="en-US"/>
              <a:t>年</a:t>
            </a:r>
            <a:r>
              <a:rPr lang="en-US" altLang="ja-JP"/>
              <a:t>XX</a:t>
            </a:r>
            <a:r>
              <a:rPr lang="ja-JP" altLang="en-US"/>
              <a:t>月</a:t>
            </a:r>
            <a:r>
              <a:rPr lang="en-US" altLang="ja-JP"/>
              <a:t>XX</a:t>
            </a:r>
            <a:r>
              <a:rPr lang="ja-JP" altLang="en-US"/>
              <a:t>日</a:t>
            </a:r>
          </a:p>
        </p:txBody>
      </p:sp>
      <p:sp>
        <p:nvSpPr>
          <p:cNvPr id="14" name="Subtitle 2">
            <a:extLst>
              <a:ext uri="{FF2B5EF4-FFF2-40B4-BE49-F238E27FC236}">
                <a16:creationId xmlns:a16="http://schemas.microsoft.com/office/drawing/2014/main" id="{BF2DBE8B-F0F9-2A48-BD13-080EEF285F4C}"/>
              </a:ext>
            </a:extLst>
          </p:cNvPr>
          <p:cNvSpPr>
            <a:spLocks noGrp="1"/>
          </p:cNvSpPr>
          <p:nvPr>
            <p:ph type="subTitle" idx="1" hasCustomPrompt="1"/>
          </p:nvPr>
        </p:nvSpPr>
        <p:spPr>
          <a:xfrm>
            <a:off x="726915" y="3775817"/>
            <a:ext cx="7803372" cy="365125"/>
          </a:xfrm>
        </p:spPr>
        <p:txBody>
          <a:bodyPr>
            <a:noAutofit/>
          </a:bodyPr>
          <a:lstStyle>
            <a:lvl1pPr marL="0" indent="0" algn="l">
              <a:buFontTx/>
              <a:buNone/>
              <a:defRPr sz="1800" b="1">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サブタイトル</a:t>
            </a:r>
            <a:endParaRPr lang="en-US" altLang="ja-JP"/>
          </a:p>
        </p:txBody>
      </p:sp>
      <p:sp>
        <p:nvSpPr>
          <p:cNvPr id="15" name="Title Placeholder 1">
            <a:extLst>
              <a:ext uri="{FF2B5EF4-FFF2-40B4-BE49-F238E27FC236}">
                <a16:creationId xmlns:a16="http://schemas.microsoft.com/office/drawing/2014/main" id="{A0892F18-3808-CE40-A3CB-5D0278FCD483}"/>
              </a:ext>
            </a:extLst>
          </p:cNvPr>
          <p:cNvSpPr>
            <a:spLocks noGrp="1"/>
          </p:cNvSpPr>
          <p:nvPr>
            <p:ph type="title" hasCustomPrompt="1"/>
          </p:nvPr>
        </p:nvSpPr>
        <p:spPr>
          <a:xfrm>
            <a:off x="716976" y="3115416"/>
            <a:ext cx="7813311" cy="660401"/>
          </a:xfrm>
          <a:prstGeom prst="rect">
            <a:avLst/>
          </a:prstGeom>
        </p:spPr>
        <p:txBody>
          <a:bodyPr vert="horz" lIns="91440" tIns="45720" rIns="91440" bIns="45720" rtlCol="0" anchor="ctr">
            <a:normAutofit/>
          </a:bodyPr>
          <a:lstStyle>
            <a:lvl1pPr>
              <a:defRPr sz="2400" b="1"/>
            </a:lvl1pPr>
          </a:lstStyle>
          <a:p>
            <a:r>
              <a:rPr lang="ja-JP" altLang="en-US"/>
              <a:t>メインタイトル</a:t>
            </a:r>
            <a:endParaRPr lang="en-US"/>
          </a:p>
        </p:txBody>
      </p:sp>
      <p:pic>
        <p:nvPicPr>
          <p:cNvPr id="5" name="図 4" descr="黒い背景に白い文字がある&#10;&#10;低い精度で自動的に生成された説明">
            <a:extLst>
              <a:ext uri="{FF2B5EF4-FFF2-40B4-BE49-F238E27FC236}">
                <a16:creationId xmlns:a16="http://schemas.microsoft.com/office/drawing/2014/main" id="{AA2D12B8-93C4-3F46-8475-E588DC55CC93}"/>
              </a:ext>
            </a:extLst>
          </p:cNvPr>
          <p:cNvPicPr>
            <a:picLocks noChangeAspect="1"/>
          </p:cNvPicPr>
          <p:nvPr userDrawn="1"/>
        </p:nvPicPr>
        <p:blipFill>
          <a:blip r:embed="rId2"/>
          <a:stretch>
            <a:fillRect/>
          </a:stretch>
        </p:blipFill>
        <p:spPr>
          <a:xfrm>
            <a:off x="6144710" y="-248999"/>
            <a:ext cx="2999290" cy="2999290"/>
          </a:xfrm>
          <a:prstGeom prst="rect">
            <a:avLst/>
          </a:prstGeom>
        </p:spPr>
      </p:pic>
    </p:spTree>
    <p:extLst>
      <p:ext uri="{BB962C8B-B14F-4D97-AF65-F5344CB8AC3E}">
        <p14:creationId xmlns:p14="http://schemas.microsoft.com/office/powerpoint/2010/main" val="4195301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173124"/>
          </a:xfrm>
          <a:prstGeom prst="rect">
            <a:avLst/>
          </a:prstGeom>
        </p:spPr>
        <p:txBody>
          <a:bodyPr wrap="square">
            <a:spAutoFit/>
          </a:bodyPr>
          <a:lstStyle/>
          <a:p>
            <a:pPr algn="r"/>
            <a:r>
              <a:rPr lang="ja-JP" altLang="en-US" sz="525">
                <a:ea typeface="BIZ UDPゴシック" panose="020B0400000000000000" pitchFamily="50" charset="-128"/>
              </a:rPr>
              <a:t>Copyright © Samurai Incubate.inc All rights reserved. </a:t>
            </a:r>
            <a:endParaRPr lang="ja-JP" altLang="en-US" sz="750">
              <a:ea typeface="BIZ UDPゴシック" panose="020B0400000000000000" pitchFamily="50" charset="-128"/>
            </a:endParaRP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89" y="187152"/>
            <a:ext cx="8721361" cy="273844"/>
          </a:xfrm>
        </p:spPr>
        <p:txBody>
          <a:bodyPr>
            <a:noAutofit/>
          </a:bodyPr>
          <a:lstStyle>
            <a:lvl1pPr marL="0" indent="0" algn="l">
              <a:buNone/>
              <a:defRPr sz="1500">
                <a:latin typeface="BIZ UDPゴシック" panose="020B0400000000000000" pitchFamily="50" charset="-128"/>
                <a:ea typeface="BIZ UDPゴシック" panose="020B0400000000000000" pitchFamily="50" charset="-128"/>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タイトルタイトルタイトル（センター揃えも</a:t>
            </a:r>
            <a:r>
              <a:rPr lang="en-US" altLang="ja-JP"/>
              <a:t>OK</a:t>
            </a:r>
            <a:r>
              <a:rPr lang="ja-JP" altLang="en-US"/>
              <a:t>）</a:t>
            </a:r>
            <a:endParaRPr lang="en-US" altLang="ja-JP"/>
          </a:p>
        </p:txBody>
      </p:sp>
      <p:sp>
        <p:nvSpPr>
          <p:cNvPr id="13" name="Text Placeholder 2">
            <a:extLst>
              <a:ext uri="{FF2B5EF4-FFF2-40B4-BE49-F238E27FC236}">
                <a16:creationId xmlns:a16="http://schemas.microsoft.com/office/drawing/2014/main" id="{61886E91-6EFD-E545-8417-CE6D054BF6AB}"/>
              </a:ext>
            </a:extLst>
          </p:cNvPr>
          <p:cNvSpPr>
            <a:spLocks noGrp="1"/>
          </p:cNvSpPr>
          <p:nvPr>
            <p:ph idx="13"/>
          </p:nvPr>
        </p:nvSpPr>
        <p:spPr>
          <a:xfrm>
            <a:off x="134176" y="537125"/>
            <a:ext cx="8864600" cy="4390650"/>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413329117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6860D10-06E9-4423-BB33-CCBFAEA34134}"/>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オブジェクト 3" hidden="1">
                        <a:extLst>
                          <a:ext uri="{FF2B5EF4-FFF2-40B4-BE49-F238E27FC236}">
                            <a16:creationId xmlns:a16="http://schemas.microsoft.com/office/drawing/2014/main" id="{66860D10-06E9-4423-BB33-CCBFAEA34134}"/>
                          </a:ext>
                        </a:extLst>
                      </p:cNvPr>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6831943" y="4894009"/>
            <a:ext cx="2133600" cy="273844"/>
          </a:xfrm>
        </p:spPr>
        <p:txBody>
          <a:bodyPr/>
          <a:lstStyle>
            <a:lvl1pPr>
              <a:defRPr sz="1108">
                <a:latin typeface="HGSｺﾞｼｯｸM" panose="020B0600000000000000" pitchFamily="50" charset="-128"/>
                <a:ea typeface="HGSｺﾞｼｯｸM" panose="020B0600000000000000" pitchFamily="50" charset="-128"/>
              </a:defRPr>
            </a:lvl1pPr>
          </a:lstStyle>
          <a:p>
            <a:pPr>
              <a:defRPr/>
            </a:pPr>
            <a:fld id="{15F3BCB8-6AFF-4030-B0F6-2944F08F86BE}" type="slidenum">
              <a:rPr lang="ja-JP" altLang="en-US" smtClean="0"/>
              <a:pPr>
                <a:defRPr/>
              </a:pPr>
              <a:t>‹#›</a:t>
            </a:fld>
            <a:endParaRPr lang="ja-JP" altLang="en-US"/>
          </a:p>
        </p:txBody>
      </p:sp>
      <p:cxnSp>
        <p:nvCxnSpPr>
          <p:cNvPr id="7" name="直線コネクタ 6"/>
          <p:cNvCxnSpPr/>
          <p:nvPr userDrawn="1"/>
        </p:nvCxnSpPr>
        <p:spPr>
          <a:xfrm>
            <a:off x="232616" y="357504"/>
            <a:ext cx="8673231" cy="1191"/>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523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5" y="4968877"/>
            <a:ext cx="2984015" cy="152991"/>
          </a:xfrm>
          <a:prstGeom prst="rect">
            <a:avLst/>
          </a:prstGeom>
        </p:spPr>
        <p:txBody>
          <a:bodyPr wrap="square">
            <a:spAutoFit/>
          </a:bodyPr>
          <a:lstStyle/>
          <a:p>
            <a:pPr algn="r"/>
            <a:r>
              <a:rPr lang="ja-JP" altLang="en-US" sz="394">
                <a:ea typeface="BIZ UDPゴシック" panose="020B0400000000000000" pitchFamily="50" charset="-128"/>
              </a:rPr>
              <a:t>Copyright © All rights reserved. </a:t>
            </a:r>
            <a:endParaRPr lang="ja-JP" altLang="en-US" sz="563">
              <a:ea typeface="BIZ UDPゴシック" panose="020B0400000000000000" pitchFamily="50" charset="-128"/>
            </a:endParaRP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91" y="152484"/>
            <a:ext cx="8721361" cy="273844"/>
          </a:xfrm>
        </p:spPr>
        <p:txBody>
          <a:bodyPr>
            <a:noAutofit/>
          </a:bodyPr>
          <a:lstStyle>
            <a:lvl1pPr marL="0" indent="0" algn="l">
              <a:buNone/>
              <a:defRPr sz="1125">
                <a:latin typeface="BIZ UDPゴシック" panose="020B0400000000000000" pitchFamily="50" charset="-128"/>
                <a:ea typeface="BIZ UDPゴシック" panose="020B0400000000000000" pitchFamily="50" charset="-128"/>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ja-JP" altLang="en-US"/>
              <a:t>タイトルタイトルタイトル（センター揃えも</a:t>
            </a:r>
            <a:r>
              <a:rPr lang="en-US" altLang="ja-JP"/>
              <a:t>OK</a:t>
            </a:r>
            <a:r>
              <a:rPr lang="ja-JP" altLang="en-US"/>
              <a:t>）</a:t>
            </a:r>
            <a:endParaRPr lang="en-US" altLang="ja-JP"/>
          </a:p>
        </p:txBody>
      </p:sp>
    </p:spTree>
    <p:extLst>
      <p:ext uri="{BB962C8B-B14F-4D97-AF65-F5344CB8AC3E}">
        <p14:creationId xmlns:p14="http://schemas.microsoft.com/office/powerpoint/2010/main" val="2700220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367931524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61823479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127890659"/>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76435410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6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80075328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574219176"/>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9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2540847188"/>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D6A5761-46BF-0849-BF12-E890673FBA72}"/>
              </a:ext>
            </a:extLst>
          </p:cNvPr>
          <p:cNvSpPr>
            <a:spLocks noGrp="1"/>
          </p:cNvSpPr>
          <p:nvPr>
            <p:ph type="body" sz="half" idx="10" hasCustomPrompt="1"/>
          </p:nvPr>
        </p:nvSpPr>
        <p:spPr>
          <a:xfrm>
            <a:off x="719590" y="4433628"/>
            <a:ext cx="7803372" cy="253108"/>
          </a:xfrm>
          <a:prstGeom prst="rect">
            <a:avLst/>
          </a:prstGeom>
        </p:spPr>
        <p:txBody>
          <a:bodyPr>
            <a:noAutofit/>
          </a:bodyPr>
          <a:lstStyle>
            <a:lvl1pPr marL="0" indent="0">
              <a:lnSpc>
                <a:spcPts val="1200"/>
              </a:lnSpc>
              <a:buNone/>
              <a:defRPr sz="10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XX</a:t>
            </a:r>
            <a:r>
              <a:rPr lang="ja-JP" altLang="en-US"/>
              <a:t>年</a:t>
            </a:r>
            <a:r>
              <a:rPr lang="en-US" altLang="ja-JP"/>
              <a:t>XX</a:t>
            </a:r>
            <a:r>
              <a:rPr lang="ja-JP" altLang="en-US"/>
              <a:t>月</a:t>
            </a:r>
            <a:r>
              <a:rPr lang="en-US" altLang="ja-JP"/>
              <a:t>XX</a:t>
            </a:r>
            <a:r>
              <a:rPr lang="ja-JP" altLang="en-US"/>
              <a:t>日</a:t>
            </a:r>
          </a:p>
        </p:txBody>
      </p:sp>
      <p:sp>
        <p:nvSpPr>
          <p:cNvPr id="14" name="Subtitle 2">
            <a:extLst>
              <a:ext uri="{FF2B5EF4-FFF2-40B4-BE49-F238E27FC236}">
                <a16:creationId xmlns:a16="http://schemas.microsoft.com/office/drawing/2014/main" id="{BF2DBE8B-F0F9-2A48-BD13-080EEF285F4C}"/>
              </a:ext>
            </a:extLst>
          </p:cNvPr>
          <p:cNvSpPr>
            <a:spLocks noGrp="1"/>
          </p:cNvSpPr>
          <p:nvPr>
            <p:ph type="subTitle" idx="1" hasCustomPrompt="1"/>
          </p:nvPr>
        </p:nvSpPr>
        <p:spPr>
          <a:xfrm>
            <a:off x="726915" y="3775817"/>
            <a:ext cx="7803372" cy="365125"/>
          </a:xfrm>
        </p:spPr>
        <p:txBody>
          <a:bodyPr>
            <a:noAutofit/>
          </a:bodyPr>
          <a:lstStyle>
            <a:lvl1pPr marL="0" indent="0" algn="l">
              <a:buFontTx/>
              <a:buNone/>
              <a:defRPr sz="1800" b="1">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サブタイトル</a:t>
            </a:r>
            <a:endParaRPr lang="en-US" altLang="ja-JP"/>
          </a:p>
        </p:txBody>
      </p:sp>
      <p:sp>
        <p:nvSpPr>
          <p:cNvPr id="15" name="Title Placeholder 1">
            <a:extLst>
              <a:ext uri="{FF2B5EF4-FFF2-40B4-BE49-F238E27FC236}">
                <a16:creationId xmlns:a16="http://schemas.microsoft.com/office/drawing/2014/main" id="{A0892F18-3808-CE40-A3CB-5D0278FCD483}"/>
              </a:ext>
            </a:extLst>
          </p:cNvPr>
          <p:cNvSpPr>
            <a:spLocks noGrp="1"/>
          </p:cNvSpPr>
          <p:nvPr>
            <p:ph type="title" hasCustomPrompt="1"/>
          </p:nvPr>
        </p:nvSpPr>
        <p:spPr>
          <a:xfrm>
            <a:off x="716976" y="3115416"/>
            <a:ext cx="7813311" cy="660401"/>
          </a:xfrm>
          <a:prstGeom prst="rect">
            <a:avLst/>
          </a:prstGeom>
        </p:spPr>
        <p:txBody>
          <a:bodyPr vert="horz" lIns="91440" tIns="45720" rIns="91440" bIns="45720" rtlCol="0" anchor="ctr">
            <a:normAutofit/>
          </a:bodyPr>
          <a:lstStyle>
            <a:lvl1pPr>
              <a:defRPr sz="2400" b="1"/>
            </a:lvl1pPr>
          </a:lstStyle>
          <a:p>
            <a:r>
              <a:rPr lang="ja-JP" altLang="en-US"/>
              <a:t>メインタイトル</a:t>
            </a:r>
            <a:endParaRPr lang="en-US"/>
          </a:p>
        </p:txBody>
      </p:sp>
    </p:spTree>
    <p:extLst>
      <p:ext uri="{BB962C8B-B14F-4D97-AF65-F5344CB8AC3E}">
        <p14:creationId xmlns:p14="http://schemas.microsoft.com/office/powerpoint/2010/main" val="4131938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0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562084953"/>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1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59224560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2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4034327540"/>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3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245758359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4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4258259509"/>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260480573"/>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01193A6-48FC-5443-B550-A9BE41364D40}"/>
              </a:ext>
            </a:extLst>
          </p:cNvPr>
          <p:cNvSpPr>
            <a:spLocks noGrp="1"/>
          </p:cNvSpPr>
          <p:nvPr>
            <p:ph type="ctrTitle" hasCustomPrompt="1"/>
          </p:nvPr>
        </p:nvSpPr>
        <p:spPr>
          <a:xfrm>
            <a:off x="662940" y="2137172"/>
            <a:ext cx="7772400" cy="495301"/>
          </a:xfrm>
        </p:spPr>
        <p:txBody>
          <a:bodyPr anchor="b">
            <a:noAutofit/>
          </a:bodyPr>
          <a:lstStyle>
            <a:lvl1pPr algn="l">
              <a:defRPr sz="2600" b="1">
                <a:latin typeface="BIZ UDPゴシック" panose="020B0400000000000000" pitchFamily="50" charset="-128"/>
                <a:ea typeface="BIZ UDPゴシック" panose="020B0400000000000000" pitchFamily="50" charset="-128"/>
              </a:defRPr>
            </a:lvl1pPr>
          </a:lstStyle>
          <a:p>
            <a:r>
              <a:rPr lang="ja-JP" altLang="en-US"/>
              <a:t>メインタイトル</a:t>
            </a:r>
            <a:endParaRPr lang="en-US"/>
          </a:p>
        </p:txBody>
      </p:sp>
      <p:sp>
        <p:nvSpPr>
          <p:cNvPr id="13" name="Subtitle 2">
            <a:extLst>
              <a:ext uri="{FF2B5EF4-FFF2-40B4-BE49-F238E27FC236}">
                <a16:creationId xmlns:a16="http://schemas.microsoft.com/office/drawing/2014/main" id="{9BA21043-BC32-1841-B048-41AC73643554}"/>
              </a:ext>
            </a:extLst>
          </p:cNvPr>
          <p:cNvSpPr>
            <a:spLocks noGrp="1"/>
          </p:cNvSpPr>
          <p:nvPr>
            <p:ph type="subTitle" idx="1" hasCustomPrompt="1"/>
          </p:nvPr>
        </p:nvSpPr>
        <p:spPr>
          <a:xfrm>
            <a:off x="659620" y="2667240"/>
            <a:ext cx="7772400" cy="273844"/>
          </a:xfrm>
        </p:spPr>
        <p:txBody>
          <a:bodyPr>
            <a:noAutofit/>
          </a:bodyPr>
          <a:lstStyle>
            <a:lvl1pPr marL="0" indent="0" algn="l">
              <a:buNone/>
              <a:defRPr sz="2275">
                <a:latin typeface="BIZ UDPゴシック" panose="020B0400000000000000" pitchFamily="50" charset="-128"/>
                <a:ea typeface="BIZ UDPゴシック" panose="020B0400000000000000" pitchFamily="50" charset="-128"/>
              </a:defRPr>
            </a:lvl1pPr>
            <a:lvl2pPr marL="371464" indent="0" algn="ctr">
              <a:buNone/>
              <a:defRPr sz="1625"/>
            </a:lvl2pPr>
            <a:lvl3pPr marL="742928" indent="0" algn="ctr">
              <a:buNone/>
              <a:defRPr sz="1463"/>
            </a:lvl3pPr>
            <a:lvl4pPr marL="1114391" indent="0" algn="ctr">
              <a:buNone/>
              <a:defRPr sz="1300"/>
            </a:lvl4pPr>
            <a:lvl5pPr marL="1485854" indent="0" algn="ctr">
              <a:buNone/>
              <a:defRPr sz="1300"/>
            </a:lvl5pPr>
            <a:lvl6pPr marL="1857318" indent="0" algn="ctr">
              <a:buNone/>
              <a:defRPr sz="1300"/>
            </a:lvl6pPr>
            <a:lvl7pPr marL="2228782" indent="0" algn="ctr">
              <a:buNone/>
              <a:defRPr sz="1300"/>
            </a:lvl7pPr>
            <a:lvl8pPr marL="2600245" indent="0" algn="ctr">
              <a:buNone/>
              <a:defRPr sz="1300"/>
            </a:lvl8pPr>
            <a:lvl9pPr marL="2971709" indent="0" algn="ctr">
              <a:buNone/>
              <a:defRPr sz="1300"/>
            </a:lvl9pPr>
          </a:lstStyle>
          <a:p>
            <a:r>
              <a:rPr lang="ja-JP" altLang="en-US"/>
              <a:t>サブタイトル</a:t>
            </a:r>
            <a:endParaRPr lang="en-US"/>
          </a:p>
        </p:txBody>
      </p:sp>
      <p:sp>
        <p:nvSpPr>
          <p:cNvPr id="25" name="Text Placeholder 3">
            <a:extLst>
              <a:ext uri="{FF2B5EF4-FFF2-40B4-BE49-F238E27FC236}">
                <a16:creationId xmlns:a16="http://schemas.microsoft.com/office/drawing/2014/main" id="{DDEC1D74-D79A-B443-B730-F09C174665F1}"/>
              </a:ext>
            </a:extLst>
          </p:cNvPr>
          <p:cNvSpPr>
            <a:spLocks noGrp="1"/>
          </p:cNvSpPr>
          <p:nvPr>
            <p:ph type="body" sz="half" idx="10" hasCustomPrompt="1"/>
          </p:nvPr>
        </p:nvSpPr>
        <p:spPr>
          <a:xfrm>
            <a:off x="628648" y="4263355"/>
            <a:ext cx="7803372" cy="446998"/>
          </a:xfrm>
          <a:prstGeom prst="rect">
            <a:avLst/>
          </a:prstGeom>
        </p:spPr>
        <p:txBody>
          <a:bodyPr>
            <a:noAutofit/>
          </a:bodyPr>
          <a:lstStyle>
            <a:lvl1pPr marL="0" indent="0">
              <a:lnSpc>
                <a:spcPts val="975"/>
              </a:lnSpc>
              <a:buNone/>
              <a:defRPr sz="812" b="0">
                <a:latin typeface="BIZ UDPゴシック" panose="020B0400000000000000" pitchFamily="50" charset="-128"/>
                <a:ea typeface="BIZ UDPゴシック" panose="020B0400000000000000" pitchFamily="50" charset="-128"/>
              </a:defRPr>
            </a:lvl1pPr>
            <a:lvl2pPr marL="371464" indent="0">
              <a:buNone/>
              <a:defRPr sz="1138"/>
            </a:lvl2pPr>
            <a:lvl3pPr marL="742928" indent="0">
              <a:buNone/>
              <a:defRPr sz="975"/>
            </a:lvl3pPr>
            <a:lvl4pPr marL="1114391" indent="0">
              <a:buNone/>
              <a:defRPr sz="812"/>
            </a:lvl4pPr>
            <a:lvl5pPr marL="1485854" indent="0">
              <a:buNone/>
              <a:defRPr sz="812"/>
            </a:lvl5pPr>
            <a:lvl6pPr marL="1857318" indent="0">
              <a:buNone/>
              <a:defRPr sz="812"/>
            </a:lvl6pPr>
            <a:lvl7pPr marL="2228782" indent="0">
              <a:buNone/>
              <a:defRPr sz="812"/>
            </a:lvl7pPr>
            <a:lvl8pPr marL="2600245" indent="0">
              <a:buNone/>
              <a:defRPr sz="812"/>
            </a:lvl8pPr>
            <a:lvl9pPr marL="2971709" indent="0">
              <a:buNone/>
              <a:defRPr sz="812"/>
            </a:lvl9pPr>
          </a:lstStyle>
          <a:p>
            <a:pPr lvl="0"/>
            <a:r>
              <a:rPr lang="en-US" altLang="ja-JP"/>
              <a:t>XX</a:t>
            </a:r>
            <a:r>
              <a:rPr lang="ja-JP" altLang="en-US"/>
              <a:t>年</a:t>
            </a:r>
            <a:r>
              <a:rPr lang="en-US" altLang="ja-JP"/>
              <a:t>XX</a:t>
            </a:r>
            <a:r>
              <a:rPr lang="ja-JP" altLang="en-US"/>
              <a:t>月</a:t>
            </a:r>
            <a:r>
              <a:rPr lang="en-US" altLang="ja-JP"/>
              <a:t>XX</a:t>
            </a:r>
            <a:r>
              <a:rPr lang="ja-JP" altLang="en-US"/>
              <a:t>日</a:t>
            </a:r>
            <a:br>
              <a:rPr lang="en-US" altLang="ja-JP"/>
            </a:br>
            <a:r>
              <a:rPr lang="ja-JP" altLang="en-US"/>
              <a:t>株式会社サムライインキュベート</a:t>
            </a:r>
            <a:br>
              <a:rPr lang="en-US" altLang="ja-JP"/>
            </a:br>
            <a:r>
              <a:rPr lang="en-US" altLang="ja-JP" err="1"/>
              <a:t>Xxxxxx</a:t>
            </a:r>
            <a:r>
              <a:rPr lang="en-US" altLang="ja-JP"/>
              <a:t> Group</a:t>
            </a:r>
            <a:endParaRPr lang="ja-JP" altLang="en-US"/>
          </a:p>
        </p:txBody>
      </p:sp>
      <p:pic>
        <p:nvPicPr>
          <p:cNvPr id="6" name="図 5" descr="黒い背景に白い文字がある&#10;&#10;低い精度で自動的に生成された説明">
            <a:extLst>
              <a:ext uri="{FF2B5EF4-FFF2-40B4-BE49-F238E27FC236}">
                <a16:creationId xmlns:a16="http://schemas.microsoft.com/office/drawing/2014/main" id="{2B375822-B5F1-FAFC-C3EA-06FAD5273D74}"/>
              </a:ext>
            </a:extLst>
          </p:cNvPr>
          <p:cNvPicPr>
            <a:picLocks noChangeAspect="1"/>
          </p:cNvPicPr>
          <p:nvPr userDrawn="1"/>
        </p:nvPicPr>
        <p:blipFill>
          <a:blip r:embed="rId2"/>
          <a:stretch>
            <a:fillRect/>
          </a:stretch>
        </p:blipFill>
        <p:spPr>
          <a:xfrm>
            <a:off x="2728493" y="84580"/>
            <a:ext cx="1303335" cy="1152842"/>
          </a:xfrm>
          <a:prstGeom prst="rect">
            <a:avLst/>
          </a:prstGeom>
        </p:spPr>
      </p:pic>
      <p:pic>
        <p:nvPicPr>
          <p:cNvPr id="7" name="図 6" descr="グラフ&#10;&#10;自動的に生成された説明">
            <a:extLst>
              <a:ext uri="{FF2B5EF4-FFF2-40B4-BE49-F238E27FC236}">
                <a16:creationId xmlns:a16="http://schemas.microsoft.com/office/drawing/2014/main" id="{F5C8F275-ED81-A7AF-6E09-CAE46636BC00}"/>
              </a:ext>
            </a:extLst>
          </p:cNvPr>
          <p:cNvPicPr>
            <a:picLocks noChangeAspect="1"/>
          </p:cNvPicPr>
          <p:nvPr userDrawn="1"/>
        </p:nvPicPr>
        <p:blipFill>
          <a:blip r:embed="rId3"/>
          <a:stretch>
            <a:fillRect/>
          </a:stretch>
        </p:blipFill>
        <p:spPr>
          <a:xfrm>
            <a:off x="317587" y="402467"/>
            <a:ext cx="920321" cy="499706"/>
          </a:xfrm>
          <a:prstGeom prst="rect">
            <a:avLst/>
          </a:prstGeom>
        </p:spPr>
      </p:pic>
      <p:pic>
        <p:nvPicPr>
          <p:cNvPr id="8" name="図 7" descr="図形&#10;&#10;低い精度で自動的に生成された説明">
            <a:extLst>
              <a:ext uri="{FF2B5EF4-FFF2-40B4-BE49-F238E27FC236}">
                <a16:creationId xmlns:a16="http://schemas.microsoft.com/office/drawing/2014/main" id="{4D80C201-54B3-77D1-F200-9BF13A328143}"/>
              </a:ext>
            </a:extLst>
          </p:cNvPr>
          <p:cNvPicPr>
            <a:picLocks noChangeAspect="1"/>
          </p:cNvPicPr>
          <p:nvPr userDrawn="1"/>
        </p:nvPicPr>
        <p:blipFill>
          <a:blip r:embed="rId4"/>
          <a:stretch>
            <a:fillRect/>
          </a:stretch>
        </p:blipFill>
        <p:spPr>
          <a:xfrm>
            <a:off x="1489929" y="208126"/>
            <a:ext cx="1238565" cy="702728"/>
          </a:xfrm>
          <a:prstGeom prst="rect">
            <a:avLst/>
          </a:prstGeom>
        </p:spPr>
      </p:pic>
    </p:spTree>
    <p:extLst>
      <p:ext uri="{BB962C8B-B14F-4D97-AF65-F5344CB8AC3E}">
        <p14:creationId xmlns:p14="http://schemas.microsoft.com/office/powerpoint/2010/main" val="9534368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0" y="432419"/>
            <a:ext cx="8851900" cy="28575"/>
          </a:xfrm>
          <a:prstGeom prst="rect">
            <a:avLst/>
          </a:prstGeom>
        </p:spPr>
      </p:pic>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89" y="152484"/>
            <a:ext cx="8721361" cy="273844"/>
          </a:xfrm>
        </p:spPr>
        <p:txBody>
          <a:bodyPr>
            <a:noAutofit/>
          </a:bodyPr>
          <a:lstStyle>
            <a:lvl1pPr marL="0" indent="0" algn="l">
              <a:buNone/>
              <a:defRPr sz="1625">
                <a:latin typeface="BIZ UDPゴシック" panose="020B0400000000000000" pitchFamily="50" charset="-128"/>
                <a:ea typeface="BIZ UDPゴシック" panose="020B0400000000000000" pitchFamily="50" charset="-128"/>
              </a:defRPr>
            </a:lvl1pPr>
            <a:lvl2pPr marL="371464" indent="0" algn="ctr">
              <a:buNone/>
              <a:defRPr sz="1625"/>
            </a:lvl2pPr>
            <a:lvl3pPr marL="742928" indent="0" algn="ctr">
              <a:buNone/>
              <a:defRPr sz="1463"/>
            </a:lvl3pPr>
            <a:lvl4pPr marL="1114391" indent="0" algn="ctr">
              <a:buNone/>
              <a:defRPr sz="1300"/>
            </a:lvl4pPr>
            <a:lvl5pPr marL="1485854" indent="0" algn="ctr">
              <a:buNone/>
              <a:defRPr sz="1300"/>
            </a:lvl5pPr>
            <a:lvl6pPr marL="1857318" indent="0" algn="ctr">
              <a:buNone/>
              <a:defRPr sz="1300"/>
            </a:lvl6pPr>
            <a:lvl7pPr marL="2228782" indent="0" algn="ctr">
              <a:buNone/>
              <a:defRPr sz="1300"/>
            </a:lvl7pPr>
            <a:lvl8pPr marL="2600245" indent="0" algn="ctr">
              <a:buNone/>
              <a:defRPr sz="1300"/>
            </a:lvl8pPr>
            <a:lvl9pPr marL="2971709" indent="0" algn="ctr">
              <a:buNone/>
              <a:defRPr sz="1300"/>
            </a:lvl9pPr>
          </a:lstStyle>
          <a:p>
            <a:r>
              <a:rPr lang="ja-JP" altLang="en-US"/>
              <a:t>タイトルタイトルタイトル（センター揃えも</a:t>
            </a:r>
            <a:r>
              <a:rPr lang="en-US" altLang="ja-JP"/>
              <a:t>OK</a:t>
            </a:r>
            <a:r>
              <a:rPr lang="ja-JP" altLang="en-US"/>
              <a:t>）</a:t>
            </a:r>
            <a:endParaRPr lang="en-US" altLang="ja-JP"/>
          </a:p>
        </p:txBody>
      </p:sp>
      <p:sp>
        <p:nvSpPr>
          <p:cNvPr id="2" name="正方形/長方形 1">
            <a:extLst>
              <a:ext uri="{FF2B5EF4-FFF2-40B4-BE49-F238E27FC236}">
                <a16:creationId xmlns:a16="http://schemas.microsoft.com/office/drawing/2014/main" id="{317305B5-9CA6-B809-6777-23CA77B9A6BE}"/>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pic>
        <p:nvPicPr>
          <p:cNvPr id="3" name="図 2" descr="図形&#10;&#10;低い精度で自動的に生成された説明">
            <a:extLst>
              <a:ext uri="{FF2B5EF4-FFF2-40B4-BE49-F238E27FC236}">
                <a16:creationId xmlns:a16="http://schemas.microsoft.com/office/drawing/2014/main" id="{B70C6E67-AAC3-4E25-BEA3-2C455074FC2F}"/>
              </a:ext>
            </a:extLst>
          </p:cNvPr>
          <p:cNvPicPr>
            <a:picLocks noChangeAspect="1"/>
          </p:cNvPicPr>
          <p:nvPr userDrawn="1"/>
        </p:nvPicPr>
        <p:blipFill>
          <a:blip r:embed="rId3"/>
          <a:stretch>
            <a:fillRect/>
          </a:stretch>
        </p:blipFill>
        <p:spPr>
          <a:xfrm>
            <a:off x="141600" y="4322437"/>
            <a:ext cx="1432273" cy="1432273"/>
          </a:xfrm>
          <a:prstGeom prst="rect">
            <a:avLst/>
          </a:prstGeom>
        </p:spPr>
      </p:pic>
    </p:spTree>
    <p:extLst>
      <p:ext uri="{BB962C8B-B14F-4D97-AF65-F5344CB8AC3E}">
        <p14:creationId xmlns:p14="http://schemas.microsoft.com/office/powerpoint/2010/main" val="110984410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3242">
          <p15:clr>
            <a:srgbClr val="FBAE40"/>
          </p15:clr>
        </p15:guide>
        <p15:guide id="4" pos="104">
          <p15:clr>
            <a:srgbClr val="FBAE40"/>
          </p15:clr>
        </p15:guide>
        <p15:guide id="5" pos="6136">
          <p15:clr>
            <a:srgbClr val="FBAE40"/>
          </p15:clr>
        </p15:guide>
        <p15:guide id="6" pos="2998">
          <p15:clr>
            <a:srgbClr val="FBAE40"/>
          </p15:clr>
        </p15:guide>
        <p15:guide id="7" orient="horz" pos="958">
          <p15:clr>
            <a:srgbClr val="FBAE40"/>
          </p15:clr>
        </p15:guide>
        <p15:guide id="8" orient="horz" pos="414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4_白紙">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45EA141D-5AFA-229E-7EBA-629C57A133CD}"/>
              </a:ext>
            </a:extLst>
          </p:cNvPr>
          <p:cNvPicPr>
            <a:picLocks noChangeAspect="1"/>
          </p:cNvPicPr>
          <p:nvPr userDrawn="1"/>
        </p:nvPicPr>
        <p:blipFill>
          <a:blip r:embed="rId2"/>
          <a:stretch>
            <a:fillRect/>
          </a:stretch>
        </p:blipFill>
        <p:spPr>
          <a:xfrm>
            <a:off x="6224778" y="1512023"/>
            <a:ext cx="2119456" cy="2119455"/>
          </a:xfrm>
          <a:prstGeom prst="rect">
            <a:avLst/>
          </a:prstGeom>
        </p:spPr>
      </p:pic>
      <p:pic>
        <p:nvPicPr>
          <p:cNvPr id="4" name="図 3" descr="グラフ&#10;&#10;自動的に生成された説明">
            <a:extLst>
              <a:ext uri="{FF2B5EF4-FFF2-40B4-BE49-F238E27FC236}">
                <a16:creationId xmlns:a16="http://schemas.microsoft.com/office/drawing/2014/main" id="{8E74D200-4084-46A1-6031-156063C5E7B6}"/>
              </a:ext>
            </a:extLst>
          </p:cNvPr>
          <p:cNvPicPr>
            <a:picLocks noChangeAspect="1"/>
          </p:cNvPicPr>
          <p:nvPr userDrawn="1"/>
        </p:nvPicPr>
        <p:blipFill>
          <a:blip r:embed="rId3"/>
          <a:stretch>
            <a:fillRect/>
          </a:stretch>
        </p:blipFill>
        <p:spPr>
          <a:xfrm>
            <a:off x="1140280" y="2138105"/>
            <a:ext cx="1597310" cy="867290"/>
          </a:xfrm>
          <a:prstGeom prst="rect">
            <a:avLst/>
          </a:prstGeom>
        </p:spPr>
      </p:pic>
      <p:pic>
        <p:nvPicPr>
          <p:cNvPr id="6" name="図 5" descr="図形&#10;&#10;低い精度で自動的に生成された説明">
            <a:extLst>
              <a:ext uri="{FF2B5EF4-FFF2-40B4-BE49-F238E27FC236}">
                <a16:creationId xmlns:a16="http://schemas.microsoft.com/office/drawing/2014/main" id="{419C2EAB-C988-D556-6710-95B61BAD6C48}"/>
              </a:ext>
            </a:extLst>
          </p:cNvPr>
          <p:cNvPicPr>
            <a:picLocks noChangeAspect="1"/>
          </p:cNvPicPr>
          <p:nvPr userDrawn="1"/>
        </p:nvPicPr>
        <p:blipFill>
          <a:blip r:embed="rId4"/>
          <a:stretch>
            <a:fillRect/>
          </a:stretch>
        </p:blipFill>
        <p:spPr>
          <a:xfrm>
            <a:off x="3447208" y="1933574"/>
            <a:ext cx="2249585" cy="1276353"/>
          </a:xfrm>
          <a:prstGeom prst="rect">
            <a:avLst/>
          </a:prstGeom>
        </p:spPr>
      </p:pic>
    </p:spTree>
    <p:extLst>
      <p:ext uri="{BB962C8B-B14F-4D97-AF65-F5344CB8AC3E}">
        <p14:creationId xmlns:p14="http://schemas.microsoft.com/office/powerpoint/2010/main" val="539683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セクション見出し">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8B189117-E08C-A744-9F46-25BA6C2178A5}"/>
              </a:ext>
            </a:extLst>
          </p:cNvPr>
          <p:cNvPicPr>
            <a:picLocks noChangeAspect="1"/>
          </p:cNvPicPr>
          <p:nvPr userDrawn="1"/>
        </p:nvPicPr>
        <p:blipFill>
          <a:blip r:embed="rId2"/>
          <a:stretch>
            <a:fillRect/>
          </a:stretch>
        </p:blipFill>
        <p:spPr>
          <a:xfrm>
            <a:off x="3238902" y="1438555"/>
            <a:ext cx="2666199" cy="2266391"/>
          </a:xfrm>
          <a:prstGeom prst="rect">
            <a:avLst/>
          </a:prstGeom>
        </p:spPr>
      </p:pic>
    </p:spTree>
    <p:extLst>
      <p:ext uri="{BB962C8B-B14F-4D97-AF65-F5344CB8AC3E}">
        <p14:creationId xmlns:p14="http://schemas.microsoft.com/office/powerpoint/2010/main" val="930970702"/>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658EE0C3-5FA9-3448-9368-16EB37E3FCDA}"/>
              </a:ext>
            </a:extLst>
          </p:cNvPr>
          <p:cNvSpPr>
            <a:spLocks noGrp="1"/>
          </p:cNvSpPr>
          <p:nvPr>
            <p:ph type="subTitle" idx="1"/>
          </p:nvPr>
        </p:nvSpPr>
        <p:spPr>
          <a:xfrm>
            <a:off x="800234" y="2429054"/>
            <a:ext cx="7850707" cy="365125"/>
          </a:xfrm>
        </p:spPr>
        <p:txBody>
          <a:bodyPr>
            <a:noAutofit/>
          </a:bodyPr>
          <a:lstStyle>
            <a:lvl1pPr marL="342900" indent="-342900" algn="l">
              <a:spcBef>
                <a:spcPts val="1000"/>
              </a:spcBef>
              <a:buFont typeface="+mj-lt"/>
              <a:buAutoNum type="arabicPeriod"/>
              <a:defRPr sz="1800">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ltLang="ja-JP"/>
          </a:p>
        </p:txBody>
      </p:sp>
      <p:sp>
        <p:nvSpPr>
          <p:cNvPr id="8" name="Subtitle 2">
            <a:extLst>
              <a:ext uri="{FF2B5EF4-FFF2-40B4-BE49-F238E27FC236}">
                <a16:creationId xmlns:a16="http://schemas.microsoft.com/office/drawing/2014/main" id="{0F8D25D6-8CEA-0E4E-9E38-58C81E940E44}"/>
              </a:ext>
            </a:extLst>
          </p:cNvPr>
          <p:cNvSpPr txBox="1">
            <a:spLocks/>
          </p:cNvSpPr>
          <p:nvPr userDrawn="1"/>
        </p:nvSpPr>
        <p:spPr>
          <a:xfrm>
            <a:off x="777747" y="1768653"/>
            <a:ext cx="6694158" cy="66040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800" b="1" kern="1200">
                <a:solidFill>
                  <a:schemeClr val="tx1"/>
                </a:solidFill>
                <a:latin typeface="Hiragino Sans W4" panose="020B0400000000000000" pitchFamily="34" charset="-128"/>
                <a:ea typeface="Hiragino Sans W4" panose="020B0400000000000000" pitchFamily="34" charset="-128"/>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b="1" kern="1200">
                <a:solidFill>
                  <a:schemeClr val="tx1"/>
                </a:solidFill>
                <a:latin typeface="Hiragino Sans W4" panose="020B0400000000000000" pitchFamily="34" charset="-128"/>
                <a:ea typeface="Hiragino Sans W4" panose="020B0400000000000000" pitchFamily="34" charset="-128"/>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b="1" kern="1200">
                <a:solidFill>
                  <a:schemeClr val="tx1"/>
                </a:solidFill>
                <a:latin typeface="Hiragino Sans W4" panose="020B0400000000000000" pitchFamily="34" charset="-128"/>
                <a:ea typeface="Hiragino Sans W4" panose="020B0400000000000000" pitchFamily="34" charset="-128"/>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kern="1200">
                <a:solidFill>
                  <a:schemeClr val="tx1"/>
                </a:solidFill>
                <a:latin typeface="Hiragino Sans W4" panose="020B0400000000000000" pitchFamily="34" charset="-128"/>
                <a:ea typeface="Hiragino Sans W4" panose="020B0400000000000000" pitchFamily="34" charset="-128"/>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kern="1200">
                <a:solidFill>
                  <a:schemeClr val="tx1"/>
                </a:solidFill>
                <a:latin typeface="Hiragino Sans W4" panose="020B0400000000000000" pitchFamily="34" charset="-128"/>
                <a:ea typeface="Hiragino Sans W4" panose="020B0400000000000000" pitchFamily="34" charset="-128"/>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pPr>
            <a:r>
              <a:rPr lang="ja-JP" altLang="en-US" sz="1800" b="1" i="1" u="sng">
                <a:latin typeface="BIZ UDPゴシック" panose="020B0400000000000000" pitchFamily="50" charset="-128"/>
                <a:ea typeface="BIZ UDPゴシック" panose="020B0400000000000000" pitchFamily="50" charset="-128"/>
              </a:rPr>
              <a:t>目次</a:t>
            </a:r>
            <a:endParaRPr lang="en-US" sz="1800" b="1" i="1" u="sng">
              <a:latin typeface="BIZ UDPゴシック" panose="020B0400000000000000" pitchFamily="50" charset="-128"/>
              <a:ea typeface="BIZ UDPゴシック" panose="020B0400000000000000" pitchFamily="50" charset="-128"/>
            </a:endParaRPr>
          </a:p>
        </p:txBody>
      </p:sp>
      <p:pic>
        <p:nvPicPr>
          <p:cNvPr id="7" name="図 6" descr="黒い背景に白い文字がある&#10;&#10;低い精度で自動的に生成された説明">
            <a:extLst>
              <a:ext uri="{FF2B5EF4-FFF2-40B4-BE49-F238E27FC236}">
                <a16:creationId xmlns:a16="http://schemas.microsoft.com/office/drawing/2014/main" id="{456DDFB3-584B-9E4F-8594-825F25F9B881}"/>
              </a:ext>
            </a:extLst>
          </p:cNvPr>
          <p:cNvPicPr>
            <a:picLocks noChangeAspect="1"/>
          </p:cNvPicPr>
          <p:nvPr userDrawn="1"/>
        </p:nvPicPr>
        <p:blipFill>
          <a:blip r:embed="rId2"/>
          <a:stretch>
            <a:fillRect/>
          </a:stretch>
        </p:blipFill>
        <p:spPr>
          <a:xfrm>
            <a:off x="3470266" y="82890"/>
            <a:ext cx="2203469" cy="2203469"/>
          </a:xfrm>
          <a:prstGeom prst="rect">
            <a:avLst/>
          </a:prstGeom>
        </p:spPr>
      </p:pic>
    </p:spTree>
    <p:extLst>
      <p:ext uri="{BB962C8B-B14F-4D97-AF65-F5344CB8AC3E}">
        <p14:creationId xmlns:p14="http://schemas.microsoft.com/office/powerpoint/2010/main" val="1918595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白紙">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501921B-F193-B349-A4EC-50D73DB187FA}"/>
              </a:ext>
            </a:extLst>
          </p:cNvPr>
          <p:cNvPicPr>
            <a:picLocks noChangeAspect="1"/>
          </p:cNvPicPr>
          <p:nvPr userDrawn="1"/>
        </p:nvPicPr>
        <p:blipFill>
          <a:blip r:embed="rId2"/>
          <a:stretch>
            <a:fillRect/>
          </a:stretch>
        </p:blipFill>
        <p:spPr>
          <a:xfrm>
            <a:off x="1244600" y="2208624"/>
            <a:ext cx="6654800" cy="774700"/>
          </a:xfrm>
          <a:prstGeom prst="rect">
            <a:avLst/>
          </a:prstGeom>
        </p:spPr>
      </p:pic>
      <p:sp>
        <p:nvSpPr>
          <p:cNvPr id="8" name="Subtitle 2">
            <a:extLst>
              <a:ext uri="{FF2B5EF4-FFF2-40B4-BE49-F238E27FC236}">
                <a16:creationId xmlns:a16="http://schemas.microsoft.com/office/drawing/2014/main" id="{105032D5-E7CC-3C43-B9C2-129B685F6F27}"/>
              </a:ext>
            </a:extLst>
          </p:cNvPr>
          <p:cNvSpPr>
            <a:spLocks noGrp="1"/>
          </p:cNvSpPr>
          <p:nvPr>
            <p:ph type="subTitle" idx="1" hasCustomPrompt="1"/>
          </p:nvPr>
        </p:nvSpPr>
        <p:spPr>
          <a:xfrm>
            <a:off x="1606378" y="2423840"/>
            <a:ext cx="6293022" cy="365125"/>
          </a:xfrm>
        </p:spPr>
        <p:txBody>
          <a:bodyPr>
            <a:noAutofit/>
          </a:bodyPr>
          <a:lstStyle>
            <a:lvl1pPr marL="0" indent="0" algn="l">
              <a:buFont typeface="Wingdings" pitchFamily="2" charset="2"/>
              <a:buNone/>
              <a:defRPr sz="2000">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タイトルタイトルタイトル</a:t>
            </a:r>
            <a:endParaRPr lang="en-US" altLang="ja-JP"/>
          </a:p>
        </p:txBody>
      </p:sp>
      <p:pic>
        <p:nvPicPr>
          <p:cNvPr id="7" name="図 6" descr="黒い背景に白い文字がある&#10;&#10;低い精度で自動的に生成された説明">
            <a:extLst>
              <a:ext uri="{FF2B5EF4-FFF2-40B4-BE49-F238E27FC236}">
                <a16:creationId xmlns:a16="http://schemas.microsoft.com/office/drawing/2014/main" id="{CB2C0F00-1386-B146-A87F-0B163A5B8429}"/>
              </a:ext>
            </a:extLst>
          </p:cNvPr>
          <p:cNvPicPr>
            <a:picLocks noChangeAspect="1"/>
          </p:cNvPicPr>
          <p:nvPr userDrawn="1"/>
        </p:nvPicPr>
        <p:blipFill>
          <a:blip r:embed="rId3"/>
          <a:stretch>
            <a:fillRect/>
          </a:stretch>
        </p:blipFill>
        <p:spPr>
          <a:xfrm>
            <a:off x="3470266" y="82890"/>
            <a:ext cx="2203469" cy="2203469"/>
          </a:xfrm>
          <a:prstGeom prst="rect">
            <a:avLst/>
          </a:prstGeom>
        </p:spPr>
      </p:pic>
      <p:sp>
        <p:nvSpPr>
          <p:cNvPr id="16" name="タイトル 15">
            <a:extLst>
              <a:ext uri="{FF2B5EF4-FFF2-40B4-BE49-F238E27FC236}">
                <a16:creationId xmlns:a16="http://schemas.microsoft.com/office/drawing/2014/main" id="{4BFC9D1D-1478-0A4B-A54E-0E1D5DCB7D4D}"/>
              </a:ext>
            </a:extLst>
          </p:cNvPr>
          <p:cNvSpPr>
            <a:spLocks noGrp="1"/>
          </p:cNvSpPr>
          <p:nvPr>
            <p:ph type="title"/>
          </p:nvPr>
        </p:nvSpPr>
        <p:spPr>
          <a:xfrm>
            <a:off x="1244600" y="2423840"/>
            <a:ext cx="485346" cy="365125"/>
          </a:xfrm>
        </p:spPr>
        <p:txBody>
          <a:bodyPr>
            <a:normAutofit/>
          </a:bodyPr>
          <a:lstStyle>
            <a:lvl1pPr>
              <a:defRPr sz="2000">
                <a:solidFill>
                  <a:schemeClr val="tx1"/>
                </a:solidFill>
              </a:defRPr>
            </a:lvl1pPr>
          </a:lstStyle>
          <a:p>
            <a:endParaRPr kumimoji="1" lang="ja-JP" altLang="en-US"/>
          </a:p>
        </p:txBody>
      </p:sp>
    </p:spTree>
    <p:extLst>
      <p:ext uri="{BB962C8B-B14F-4D97-AF65-F5344CB8AC3E}">
        <p14:creationId xmlns:p14="http://schemas.microsoft.com/office/powerpoint/2010/main" val="39462086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chor="ctr">
            <a:noAutofit/>
          </a:bodyPr>
          <a:lstStyle>
            <a:lvl1pPr marL="0" indent="0" algn="l">
              <a:buNone/>
              <a:defRPr sz="1600">
                <a:latin typeface="BIZ UDPゴシック" panose="020B0400000000000000" pitchFamily="50" charset="-128"/>
                <a:ea typeface="BIZ UDPゴシック" panose="020B0400000000000000" pitchFamily="50" charset="-128"/>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0" y="4322437"/>
            <a:ext cx="1432273" cy="1432273"/>
          </a:xfrm>
          <a:prstGeom prst="rect">
            <a:avLst/>
          </a:prstGeom>
        </p:spPr>
      </p:pic>
      <p:sp>
        <p:nvSpPr>
          <p:cNvPr id="2" name="Text Placeholder 2">
            <a:extLst>
              <a:ext uri="{FF2B5EF4-FFF2-40B4-BE49-F238E27FC236}">
                <a16:creationId xmlns:a16="http://schemas.microsoft.com/office/drawing/2014/main" id="{03205C93-4709-3CBE-4182-90A872008AB4}"/>
              </a:ext>
            </a:extLst>
          </p:cNvPr>
          <p:cNvSpPr>
            <a:spLocks noGrp="1"/>
          </p:cNvSpPr>
          <p:nvPr>
            <p:ph idx="13"/>
          </p:nvPr>
        </p:nvSpPr>
        <p:spPr>
          <a:xfrm>
            <a:off x="363926" y="537124"/>
            <a:ext cx="8416149" cy="499233"/>
          </a:xfrm>
          <a:prstGeom prst="rect">
            <a:avLst/>
          </a:prstGeom>
          <a:ln>
            <a:solidFill>
              <a:schemeClr val="tx1"/>
            </a:solidFill>
          </a:ln>
        </p:spPr>
        <p:txBody>
          <a:bodyPr vert="horz" lIns="91440" tIns="45720" rIns="91440" bIns="45720" rtlCol="0" anchor="ctr">
            <a:noAutofit/>
          </a:bodyPr>
          <a:lstStyle>
            <a:lvl1pPr marL="0" indent="0">
              <a:lnSpc>
                <a:spcPct val="100000"/>
              </a:lnSpc>
              <a:buNone/>
              <a:defRPr sz="1200"/>
            </a:lvl1pPr>
            <a:lvl2pPr marL="342900" indent="0">
              <a:buNone/>
              <a:defRPr/>
            </a:lvl2pPr>
            <a:lvl3pPr marL="685800" indent="0">
              <a:buNone/>
              <a:defRPr/>
            </a:lvl3pPr>
            <a:lvl4pPr marL="1028700" indent="0">
              <a:buNone/>
              <a:defRPr/>
            </a:lvl4pPr>
            <a:lvl5pPr marL="1371600" indent="0">
              <a:buNone/>
              <a:defRPr/>
            </a:lvl5pPr>
          </a:lstStyle>
          <a:p>
            <a:pPr lvl="0"/>
            <a:endParaRPr lang="ja-JP" altLang="en-US"/>
          </a:p>
        </p:txBody>
      </p:sp>
    </p:spTree>
    <p:extLst>
      <p:ext uri="{BB962C8B-B14F-4D97-AF65-F5344CB8AC3E}">
        <p14:creationId xmlns:p14="http://schemas.microsoft.com/office/powerpoint/2010/main" val="340340870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0_白紙">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2"/>
          <a:stretch>
            <a:fillRect/>
          </a:stretch>
        </p:blipFill>
        <p:spPr>
          <a:xfrm>
            <a:off x="141600" y="4322437"/>
            <a:ext cx="1432273" cy="1432273"/>
          </a:xfrm>
          <a:prstGeom prst="rect">
            <a:avLst/>
          </a:prstGeom>
        </p:spPr>
      </p:pic>
    </p:spTree>
    <p:extLst>
      <p:ext uri="{BB962C8B-B14F-4D97-AF65-F5344CB8AC3E}">
        <p14:creationId xmlns:p14="http://schemas.microsoft.com/office/powerpoint/2010/main" val="159822448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CA373D-2ED3-8228-63D4-7D6AB37B42D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43C2DF9-36F3-BA7E-85B1-FD0125964DD3}"/>
              </a:ext>
            </a:extLst>
          </p:cNvPr>
          <p:cNvSpPr>
            <a:spLocks noGrp="1"/>
          </p:cNvSpPr>
          <p:nvPr>
            <p:ph type="dt" sz="half" idx="10"/>
          </p:nvPr>
        </p:nvSpPr>
        <p:spPr/>
        <p:txBody>
          <a:bodyPr/>
          <a:lstStyle/>
          <a:p>
            <a:fld id="{45201931-9DA5-894B-B37A-CF7F190E1E35}" type="datetime4">
              <a:rPr lang="ja-JP" altLang="en-US" smtClean="0"/>
              <a:pPr/>
              <a:t>2025年1月24日</a:t>
            </a:fld>
            <a:endParaRPr lang="ja-JP" altLang="en-US"/>
          </a:p>
        </p:txBody>
      </p:sp>
      <p:sp>
        <p:nvSpPr>
          <p:cNvPr id="4" name="フッター プレースホルダー 3">
            <a:extLst>
              <a:ext uri="{FF2B5EF4-FFF2-40B4-BE49-F238E27FC236}">
                <a16:creationId xmlns:a16="http://schemas.microsoft.com/office/drawing/2014/main" id="{89C92182-280E-6089-C865-97A4E6E0C609}"/>
              </a:ext>
            </a:extLst>
          </p:cNvPr>
          <p:cNvSpPr>
            <a:spLocks noGrp="1"/>
          </p:cNvSpPr>
          <p:nvPr>
            <p:ph type="ftr" sz="quarter" idx="11"/>
          </p:nvPr>
        </p:nvSpPr>
        <p:spPr/>
        <p:txBody>
          <a:bodyPr/>
          <a:lstStyle/>
          <a:p>
            <a:endParaRPr lang="ja-JP" altLang="en-US"/>
          </a:p>
        </p:txBody>
      </p:sp>
      <p:sp>
        <p:nvSpPr>
          <p:cNvPr id="5" name="スライド番号プレースホルダー 4">
            <a:extLst>
              <a:ext uri="{FF2B5EF4-FFF2-40B4-BE49-F238E27FC236}">
                <a16:creationId xmlns:a16="http://schemas.microsoft.com/office/drawing/2014/main" id="{DFFA5934-D1B8-D0C7-BF65-F5CBC15106A0}"/>
              </a:ext>
            </a:extLst>
          </p:cNvPr>
          <p:cNvSpPr>
            <a:spLocks noGrp="1"/>
          </p:cNvSpPr>
          <p:nvPr>
            <p:ph type="sldNum" sz="quarter" idx="12"/>
          </p:nvPr>
        </p:nvSpPr>
        <p:spPr/>
        <p:txBody>
          <a:bodyPr/>
          <a:lstStyle/>
          <a:p>
            <a:fld id="{4C3E7FFA-7CC9-7749-8BE5-606DD00A2B0C}" type="slidenum">
              <a:rPr lang="ja-JP" altLang="en-US" smtClean="0"/>
              <a:pPr/>
              <a:t>‹#›</a:t>
            </a:fld>
            <a:endParaRPr lang="ja-JP" altLang="en-US"/>
          </a:p>
        </p:txBody>
      </p:sp>
      <p:pic>
        <p:nvPicPr>
          <p:cNvPr id="6" name="図 5" descr="ダイアグラム, ロゴ&#10;&#10;自動的に生成された説明">
            <a:extLst>
              <a:ext uri="{FF2B5EF4-FFF2-40B4-BE49-F238E27FC236}">
                <a16:creationId xmlns:a16="http://schemas.microsoft.com/office/drawing/2014/main" id="{42BCAB25-D522-AB53-2C1D-52BED4E5A1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正方形/長方形 6">
            <a:extLst>
              <a:ext uri="{FF2B5EF4-FFF2-40B4-BE49-F238E27FC236}">
                <a16:creationId xmlns:a16="http://schemas.microsoft.com/office/drawing/2014/main" id="{6D794124-93DE-139A-9CB4-E7EB7F2BBF3D}"/>
              </a:ext>
            </a:extLst>
          </p:cNvPr>
          <p:cNvSpPr/>
          <p:nvPr userDrawn="1"/>
        </p:nvSpPr>
        <p:spPr>
          <a:xfrm>
            <a:off x="0" y="0"/>
            <a:ext cx="9144000" cy="5143500"/>
          </a:xfrm>
          <a:prstGeom prst="rect">
            <a:avLst/>
          </a:prstGeom>
          <a:solidFill>
            <a:schemeClr val="bg1">
              <a:alpha val="87000"/>
            </a:schemeClr>
          </a:solidFill>
          <a:ln w="6350">
            <a:no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Tree>
    <p:extLst>
      <p:ext uri="{BB962C8B-B14F-4D97-AF65-F5344CB8AC3E}">
        <p14:creationId xmlns:p14="http://schemas.microsoft.com/office/powerpoint/2010/main" val="1228157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CA373D-2ED3-8228-63D4-7D6AB37B42D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43C2DF9-36F3-BA7E-85B1-FD0125964DD3}"/>
              </a:ext>
            </a:extLst>
          </p:cNvPr>
          <p:cNvSpPr>
            <a:spLocks noGrp="1"/>
          </p:cNvSpPr>
          <p:nvPr>
            <p:ph type="dt" sz="half" idx="10"/>
          </p:nvPr>
        </p:nvSpPr>
        <p:spPr/>
        <p:txBody>
          <a:bodyPr/>
          <a:lstStyle/>
          <a:p>
            <a:fld id="{45201931-9DA5-894B-B37A-CF7F190E1E35}" type="datetime4">
              <a:rPr lang="ja-JP" altLang="en-US" smtClean="0"/>
              <a:pPr/>
              <a:t>2025年1月24日</a:t>
            </a:fld>
            <a:endParaRPr lang="ja-JP" altLang="en-US"/>
          </a:p>
        </p:txBody>
      </p:sp>
      <p:sp>
        <p:nvSpPr>
          <p:cNvPr id="4" name="フッター プレースホルダー 3">
            <a:extLst>
              <a:ext uri="{FF2B5EF4-FFF2-40B4-BE49-F238E27FC236}">
                <a16:creationId xmlns:a16="http://schemas.microsoft.com/office/drawing/2014/main" id="{89C92182-280E-6089-C865-97A4E6E0C609}"/>
              </a:ext>
            </a:extLst>
          </p:cNvPr>
          <p:cNvSpPr>
            <a:spLocks noGrp="1"/>
          </p:cNvSpPr>
          <p:nvPr>
            <p:ph type="ftr" sz="quarter" idx="11"/>
          </p:nvPr>
        </p:nvSpPr>
        <p:spPr/>
        <p:txBody>
          <a:bodyPr/>
          <a:lstStyle/>
          <a:p>
            <a:endParaRPr lang="ja-JP" altLang="en-US"/>
          </a:p>
        </p:txBody>
      </p:sp>
      <p:sp>
        <p:nvSpPr>
          <p:cNvPr id="5" name="スライド番号プレースホルダー 4">
            <a:extLst>
              <a:ext uri="{FF2B5EF4-FFF2-40B4-BE49-F238E27FC236}">
                <a16:creationId xmlns:a16="http://schemas.microsoft.com/office/drawing/2014/main" id="{DFFA5934-D1B8-D0C7-BF65-F5CBC15106A0}"/>
              </a:ext>
            </a:extLst>
          </p:cNvPr>
          <p:cNvSpPr>
            <a:spLocks noGrp="1"/>
          </p:cNvSpPr>
          <p:nvPr>
            <p:ph type="sldNum" sz="quarter" idx="12"/>
          </p:nvPr>
        </p:nvSpPr>
        <p:spPr/>
        <p:txBody>
          <a:bodyPr/>
          <a:lstStyle/>
          <a:p>
            <a:fld id="{4C3E7FFA-7CC9-7749-8BE5-606DD00A2B0C}" type="slidenum">
              <a:rPr lang="ja-JP" altLang="en-US" smtClean="0"/>
              <a:pPr/>
              <a:t>‹#›</a:t>
            </a:fld>
            <a:endParaRPr lang="ja-JP" altLang="en-US"/>
          </a:p>
        </p:txBody>
      </p:sp>
      <p:sp>
        <p:nvSpPr>
          <p:cNvPr id="6" name="正方形/長方形 5">
            <a:extLst>
              <a:ext uri="{FF2B5EF4-FFF2-40B4-BE49-F238E27FC236}">
                <a16:creationId xmlns:a16="http://schemas.microsoft.com/office/drawing/2014/main" id="{2B5DB2B5-2792-855C-3CF0-3AA687D887A2}"/>
              </a:ext>
            </a:extLst>
          </p:cNvPr>
          <p:cNvSpPr/>
          <p:nvPr userDrawn="1"/>
        </p:nvSpPr>
        <p:spPr>
          <a:xfrm>
            <a:off x="0" y="0"/>
            <a:ext cx="9144000" cy="5143500"/>
          </a:xfrm>
          <a:prstGeom prst="rect">
            <a:avLst/>
          </a:prstGeom>
          <a:solidFill>
            <a:srgbClr val="A7D9FF"/>
          </a:solidFill>
          <a:ln w="6350">
            <a:solidFill>
              <a:srgbClr val="0070C0"/>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
        <p:nvSpPr>
          <p:cNvPr id="7" name="正方形/長方形 6">
            <a:extLst>
              <a:ext uri="{FF2B5EF4-FFF2-40B4-BE49-F238E27FC236}">
                <a16:creationId xmlns:a16="http://schemas.microsoft.com/office/drawing/2014/main" id="{CD377615-3DF5-E6FC-3346-465C5A1F1B92}"/>
              </a:ext>
            </a:extLst>
          </p:cNvPr>
          <p:cNvSpPr/>
          <p:nvPr userDrawn="1"/>
        </p:nvSpPr>
        <p:spPr>
          <a:xfrm>
            <a:off x="0" y="0"/>
            <a:ext cx="9144000" cy="1199015"/>
          </a:xfrm>
          <a:prstGeom prst="rect">
            <a:avLst/>
          </a:prstGeom>
          <a:solidFill>
            <a:schemeClr val="tx1"/>
          </a:solidFill>
          <a:ln w="635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4A9188E0-6EA1-4E55-FEB5-951DA075141E}"/>
              </a:ext>
            </a:extLst>
          </p:cNvPr>
          <p:cNvPicPr>
            <a:picLocks noChangeAspect="1"/>
          </p:cNvPicPr>
          <p:nvPr userDrawn="1"/>
        </p:nvPicPr>
        <p:blipFill>
          <a:blip r:embed="rId2"/>
          <a:stretch>
            <a:fillRect/>
          </a:stretch>
        </p:blipFill>
        <p:spPr>
          <a:xfrm>
            <a:off x="7817817" y="1"/>
            <a:ext cx="1317282" cy="1202564"/>
          </a:xfrm>
          <a:prstGeom prst="rect">
            <a:avLst/>
          </a:prstGeom>
        </p:spPr>
      </p:pic>
    </p:spTree>
    <p:extLst>
      <p:ext uri="{BB962C8B-B14F-4D97-AF65-F5344CB8AC3E}">
        <p14:creationId xmlns:p14="http://schemas.microsoft.com/office/powerpoint/2010/main" val="27673610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8B189117-E08C-A744-9F46-25BA6C2178A5}"/>
              </a:ext>
            </a:extLst>
          </p:cNvPr>
          <p:cNvPicPr>
            <a:picLocks noChangeAspect="1"/>
          </p:cNvPicPr>
          <p:nvPr userDrawn="1"/>
        </p:nvPicPr>
        <p:blipFill>
          <a:blip r:embed="rId2"/>
          <a:stretch>
            <a:fillRect/>
          </a:stretch>
        </p:blipFill>
        <p:spPr>
          <a:xfrm>
            <a:off x="3238901" y="1146054"/>
            <a:ext cx="2666198" cy="2666198"/>
          </a:xfrm>
          <a:prstGeom prst="rect">
            <a:avLst/>
          </a:prstGeom>
        </p:spPr>
      </p:pic>
    </p:spTree>
    <p:extLst>
      <p:ext uri="{BB962C8B-B14F-4D97-AF65-F5344CB8AC3E}">
        <p14:creationId xmlns:p14="http://schemas.microsoft.com/office/powerpoint/2010/main" val="372093607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8.xml"/><Relationship Id="rId7" Type="http://schemas.openxmlformats.org/officeDocument/2006/relationships/tags" Target="../tags/tag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2.xml"/><Relationship Id="rId5"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ea typeface="BIZ UDPゴシック" panose="020B0400000000000000" pitchFamily="50" charset="-128"/>
              </a:defRPr>
            </a:lvl1pPr>
          </a:lstStyle>
          <a:p>
            <a:fld id="{45201931-9DA5-894B-B37A-CF7F190E1E35}" type="datetime4">
              <a:rPr lang="ja-JP" altLang="en-US" smtClean="0"/>
              <a:pPr/>
              <a:t>2025年1月24日</a:t>
            </a:fld>
            <a:endParaRPr lang="ja-JP"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ea typeface="BIZ UDPゴシック" panose="020B0400000000000000" pitchFamily="50" charset="-128"/>
              </a:defRPr>
            </a:lvl1pPr>
          </a:lstStyle>
          <a:p>
            <a:endParaRPr lang="ja-JP"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ea typeface="BIZ UDPゴシック" panose="020B0400000000000000" pitchFamily="50" charset="-128"/>
              </a:defRPr>
            </a:lvl1pPr>
          </a:lstStyle>
          <a:p>
            <a:fld id="{4C3E7FFA-7CC9-7749-8BE5-606DD00A2B0C}" type="slidenum">
              <a:rPr lang="ja-JP" altLang="en-US" smtClean="0"/>
              <a:pPr/>
              <a:t>‹#›</a:t>
            </a:fld>
            <a:endParaRPr lang="ja-JP" altLang="en-US"/>
          </a:p>
        </p:txBody>
      </p:sp>
    </p:spTree>
    <p:extLst>
      <p:ext uri="{BB962C8B-B14F-4D97-AF65-F5344CB8AC3E}">
        <p14:creationId xmlns:p14="http://schemas.microsoft.com/office/powerpoint/2010/main" val="353897797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53" r:id="rId6"/>
    <p:sldLayoutId id="2147483745" r:id="rId7"/>
    <p:sldLayoutId id="2147483746" r:id="rId8"/>
    <p:sldLayoutId id="2147483741" r:id="rId9"/>
    <p:sldLayoutId id="2147483742" r:id="rId10"/>
    <p:sldLayoutId id="2147483743" r:id="rId11"/>
    <p:sldLayoutId id="2147483744" r:id="rId12"/>
    <p:sldLayoutId id="2147483754" r:id="rId13"/>
    <p:sldLayoutId id="2147483755" r:id="rId14"/>
    <p:sldLayoutId id="2147483756" r:id="rId15"/>
    <p:sldLayoutId id="2147483757" r:id="rId16"/>
    <p:sldLayoutId id="2147483758" r:id="rId17"/>
    <p:sldLayoutId id="2147483759" r:id="rId18"/>
    <p:sldLayoutId id="2147483761" r:id="rId19"/>
    <p:sldLayoutId id="2147483762" r:id="rId20"/>
    <p:sldLayoutId id="2147483763" r:id="rId21"/>
    <p:sldLayoutId id="2147483764" r:id="rId22"/>
    <p:sldLayoutId id="2147483765" r:id="rId23"/>
    <p:sldLayoutId id="2147483766" r:id="rId24"/>
    <p:sldLayoutId id="2147483767" r:id="rId25"/>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BIZ UDPゴシック" panose="020B0400000000000000" pitchFamily="50" charset="-128"/>
          <a:ea typeface="BIZ UDPゴシック" panose="020B0400000000000000" pitchFamily="50" charset="-128"/>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C3AE88B-0269-1144-98D9-E05F0CDA299B}"/>
              </a:ext>
            </a:extLst>
          </p:cNvPr>
          <p:cNvGraphicFramePr>
            <a:graphicFrameLocks noChangeAspect="1"/>
          </p:cNvGraphicFramePr>
          <p:nvPr userDrawn="1">
            <p:custDataLst>
              <p:tags r:id="rId6"/>
            </p:custDataLst>
            <p:extLst>
              <p:ext uri="{D42A27DB-BD31-4B8C-83A1-F6EECF244321}">
                <p14:modId xmlns:p14="http://schemas.microsoft.com/office/powerpoint/2010/main" val="29958592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スライド" r:id="rId8" imgW="7772400" imgH="10058400" progId="TCLayout.ActiveDocument.1">
                  <p:embed/>
                </p:oleObj>
              </mc:Choice>
              <mc:Fallback>
                <p:oleObj name="think-cell スライド" r:id="rId8" imgW="7772400" imgH="10058400" progId="TCLayout.ActiveDocument.1">
                  <p:embed/>
                  <p:pic>
                    <p:nvPicPr>
                      <p:cNvPr id="8" name="オブジェクト 7" hidden="1">
                        <a:extLst>
                          <a:ext uri="{FF2B5EF4-FFF2-40B4-BE49-F238E27FC236}">
                            <a16:creationId xmlns:a16="http://schemas.microsoft.com/office/drawing/2014/main" id="{6C3AE88B-0269-1144-98D9-E05F0CDA299B}"/>
                          </a:ext>
                        </a:extLst>
                      </p:cNvPr>
                      <p:cNvPicPr/>
                      <p:nvPr/>
                    </p:nvPicPr>
                    <p:blipFill>
                      <a:blip r:embed="rId9"/>
                      <a:stretch>
                        <a:fillRect/>
                      </a:stretch>
                    </p:blipFill>
                    <p:spPr>
                      <a:xfrm>
                        <a:off x="1589" y="1192"/>
                        <a:ext cx="1587" cy="1190"/>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9B6C6AA3-B46F-7B47-A756-D8B0128D8928}"/>
              </a:ext>
            </a:extLst>
          </p:cNvPr>
          <p:cNvSpPr/>
          <p:nvPr userDrawn="1">
            <p:custDataLst>
              <p:tags r:id="rId7"/>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600" b="1" i="0" baseline="0">
              <a:latin typeface="BIZ UDPゴシック" panose="020B0400000000000000" pitchFamily="50" charset="-128"/>
              <a:ea typeface="BIZ UDPゴシック" panose="020B0400000000000000" pitchFamily="50" charset="-128"/>
              <a:sym typeface="Hiragino Sans W4" panose="020B0400000000000000" pitchFamily="34" charset="-128"/>
            </a:endParaRPr>
          </a:p>
        </p:txBody>
      </p:sp>
      <p:sp>
        <p:nvSpPr>
          <p:cNvPr id="2" name="Title Placeholder 1"/>
          <p:cNvSpPr>
            <a:spLocks noGrp="1"/>
          </p:cNvSpPr>
          <p:nvPr>
            <p:ph type="title"/>
          </p:nvPr>
        </p:nvSpPr>
        <p:spPr>
          <a:xfrm>
            <a:off x="628651" y="273846"/>
            <a:ext cx="7886700" cy="994172"/>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1" y="1369219"/>
            <a:ext cx="7886700" cy="326350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75">
                <a:solidFill>
                  <a:schemeClr val="tx1">
                    <a:tint val="75000"/>
                  </a:schemeClr>
                </a:solidFill>
                <a:ea typeface="BIZ UDPゴシック" panose="020B0400000000000000" pitchFamily="50" charset="-128"/>
              </a:defRPr>
            </a:lvl1pPr>
          </a:lstStyle>
          <a:p>
            <a:endParaRPr lang="ja-JP" altLang="en-US"/>
          </a:p>
        </p:txBody>
      </p:sp>
      <p:sp>
        <p:nvSpPr>
          <p:cNvPr id="5" name="Footer Placeholder 4"/>
          <p:cNvSpPr>
            <a:spLocks noGrp="1"/>
          </p:cNvSpPr>
          <p:nvPr>
            <p:ph type="ftr" sz="quarter" idx="3"/>
          </p:nvPr>
        </p:nvSpPr>
        <p:spPr>
          <a:xfrm>
            <a:off x="3028951" y="4767264"/>
            <a:ext cx="3086100" cy="273844"/>
          </a:xfrm>
          <a:prstGeom prst="rect">
            <a:avLst/>
          </a:prstGeom>
        </p:spPr>
        <p:txBody>
          <a:bodyPr vert="horz" lIns="91440" tIns="45720" rIns="91440" bIns="45720" rtlCol="0" anchor="ctr"/>
          <a:lstStyle>
            <a:lvl1pPr algn="ctr">
              <a:defRPr sz="975">
                <a:solidFill>
                  <a:schemeClr val="tx1">
                    <a:tint val="75000"/>
                  </a:schemeClr>
                </a:solidFill>
                <a:ea typeface="BIZ UDPゴシック" panose="020B0400000000000000" pitchFamily="50" charset="-128"/>
              </a:defRPr>
            </a:lvl1pPr>
          </a:lstStyle>
          <a:p>
            <a:endParaRPr lang="ja-JP" alt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75">
                <a:solidFill>
                  <a:schemeClr val="tx1">
                    <a:tint val="75000"/>
                  </a:schemeClr>
                </a:solidFill>
                <a:ea typeface="BIZ UDPゴシック" panose="020B0400000000000000" pitchFamily="50" charset="-128"/>
              </a:defRPr>
            </a:lvl1pPr>
          </a:lstStyle>
          <a:p>
            <a:fld id="{4C3E7FFA-7CC9-7749-8BE5-606DD00A2B0C}" type="slidenum">
              <a:rPr lang="ja-JP" altLang="en-US" smtClean="0"/>
              <a:pPr/>
              <a:t>‹#›</a:t>
            </a:fld>
            <a:endParaRPr lang="ja-JP" altLang="en-US"/>
          </a:p>
        </p:txBody>
      </p:sp>
    </p:spTree>
    <p:extLst>
      <p:ext uri="{BB962C8B-B14F-4D97-AF65-F5344CB8AC3E}">
        <p14:creationId xmlns:p14="http://schemas.microsoft.com/office/powerpoint/2010/main" val="362895621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2" r:id="rId4"/>
  </p:sldLayoutIdLst>
  <p:hf hdr="0" ftr="0" dt="0"/>
  <p:txStyles>
    <p:titleStyle>
      <a:lvl1pPr algn="l" defTabSz="742928" rtl="0" eaLnBrk="1" latinLnBrk="0" hangingPunct="1">
        <a:lnSpc>
          <a:spcPct val="90000"/>
        </a:lnSpc>
        <a:spcBef>
          <a:spcPct val="0"/>
        </a:spcBef>
        <a:buNone/>
        <a:defRPr kumimoji="1" sz="2600" b="1"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185732" indent="-185732" algn="l" defTabSz="742928" rtl="0" eaLnBrk="1" latinLnBrk="0" hangingPunct="1">
        <a:lnSpc>
          <a:spcPct val="90000"/>
        </a:lnSpc>
        <a:spcBef>
          <a:spcPts val="812"/>
        </a:spcBef>
        <a:buFont typeface="Arial" panose="020B0604020202020204" pitchFamily="34" charset="0"/>
        <a:buChar char="•"/>
        <a:defRPr kumimoji="1" sz="2275" b="1" kern="1200">
          <a:solidFill>
            <a:schemeClr val="tx1"/>
          </a:solidFill>
          <a:latin typeface="BIZ UDPゴシック" panose="020B0400000000000000" pitchFamily="50" charset="-128"/>
          <a:ea typeface="BIZ UDPゴシック" panose="020B0400000000000000" pitchFamily="50" charset="-128"/>
          <a:cs typeface="+mn-cs"/>
        </a:defRPr>
      </a:lvl1pPr>
      <a:lvl2pPr marL="557195" indent="-185732" algn="l" defTabSz="742928" rtl="0" eaLnBrk="1" latinLnBrk="0" hangingPunct="1">
        <a:lnSpc>
          <a:spcPct val="90000"/>
        </a:lnSpc>
        <a:spcBef>
          <a:spcPts val="407"/>
        </a:spcBef>
        <a:buFont typeface="Arial" panose="020B0604020202020204" pitchFamily="34" charset="0"/>
        <a:buChar char="•"/>
        <a:defRPr kumimoji="1" sz="1950" b="1" kern="1200">
          <a:solidFill>
            <a:schemeClr val="tx1"/>
          </a:solidFill>
          <a:latin typeface="BIZ UDPゴシック" panose="020B0400000000000000" pitchFamily="50" charset="-128"/>
          <a:ea typeface="BIZ UDPゴシック" panose="020B0400000000000000" pitchFamily="50" charset="-128"/>
          <a:cs typeface="+mn-cs"/>
        </a:defRPr>
      </a:lvl2pPr>
      <a:lvl3pPr marL="928659" indent="-185732" algn="l" defTabSz="742928" rtl="0" eaLnBrk="1" latinLnBrk="0" hangingPunct="1">
        <a:lnSpc>
          <a:spcPct val="90000"/>
        </a:lnSpc>
        <a:spcBef>
          <a:spcPts val="407"/>
        </a:spcBef>
        <a:buFont typeface="Arial" panose="020B0604020202020204" pitchFamily="34" charset="0"/>
        <a:buChar char="•"/>
        <a:defRPr kumimoji="1" sz="1625" b="1" kern="1200">
          <a:solidFill>
            <a:schemeClr val="tx1"/>
          </a:solidFill>
          <a:latin typeface="BIZ UDPゴシック" panose="020B0400000000000000" pitchFamily="50" charset="-128"/>
          <a:ea typeface="BIZ UDPゴシック" panose="020B0400000000000000" pitchFamily="50" charset="-128"/>
          <a:cs typeface="+mn-cs"/>
        </a:defRPr>
      </a:lvl3pPr>
      <a:lvl4pPr marL="1300123" indent="-185732" algn="l" defTabSz="742928" rtl="0" eaLnBrk="1" latinLnBrk="0" hangingPunct="1">
        <a:lnSpc>
          <a:spcPct val="90000"/>
        </a:lnSpc>
        <a:spcBef>
          <a:spcPts val="407"/>
        </a:spcBef>
        <a:buFont typeface="Arial" panose="020B0604020202020204" pitchFamily="34" charset="0"/>
        <a:buChar char="•"/>
        <a:defRPr kumimoji="1" sz="1463" b="1" kern="1200">
          <a:solidFill>
            <a:schemeClr val="tx1"/>
          </a:solidFill>
          <a:latin typeface="BIZ UDPゴシック" panose="020B0400000000000000" pitchFamily="50" charset="-128"/>
          <a:ea typeface="BIZ UDPゴシック" panose="020B0400000000000000" pitchFamily="50" charset="-128"/>
          <a:cs typeface="+mn-cs"/>
        </a:defRPr>
      </a:lvl4pPr>
      <a:lvl5pPr marL="1671586" indent="-185732" algn="l" defTabSz="742928" rtl="0" eaLnBrk="1" latinLnBrk="0" hangingPunct="1">
        <a:lnSpc>
          <a:spcPct val="90000"/>
        </a:lnSpc>
        <a:spcBef>
          <a:spcPts val="407"/>
        </a:spcBef>
        <a:buFont typeface="Arial" panose="020B0604020202020204" pitchFamily="34" charset="0"/>
        <a:buChar char="•"/>
        <a:defRPr kumimoji="1" sz="1300" b="1" kern="1200">
          <a:solidFill>
            <a:schemeClr val="tx1"/>
          </a:solidFill>
          <a:latin typeface="BIZ UDPゴシック" panose="020B0400000000000000" pitchFamily="50" charset="-128"/>
          <a:ea typeface="BIZ UDPゴシック" panose="020B0400000000000000" pitchFamily="50" charset="-128"/>
          <a:cs typeface="+mn-cs"/>
        </a:defRPr>
      </a:lvl5pPr>
      <a:lvl6pPr marL="2043050"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6pPr>
      <a:lvl7pPr marL="2414513"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7pPr>
      <a:lvl8pPr marL="2785977"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8pPr>
      <a:lvl9pPr marL="3157440"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9pPr>
    </p:bodyStyle>
    <p:otherStyle>
      <a:defPPr>
        <a:defRPr lang="en-US"/>
      </a:defPPr>
      <a:lvl1pPr marL="0" algn="l" defTabSz="742928" rtl="0" eaLnBrk="1" latinLnBrk="0" hangingPunct="1">
        <a:defRPr kumimoji="1" sz="1463" kern="1200">
          <a:solidFill>
            <a:schemeClr val="tx1"/>
          </a:solidFill>
          <a:latin typeface="+mn-lt"/>
          <a:ea typeface="+mn-ea"/>
          <a:cs typeface="+mn-cs"/>
        </a:defRPr>
      </a:lvl1pPr>
      <a:lvl2pPr marL="371464" algn="l" defTabSz="742928" rtl="0" eaLnBrk="1" latinLnBrk="0" hangingPunct="1">
        <a:defRPr kumimoji="1" sz="1463" kern="1200">
          <a:solidFill>
            <a:schemeClr val="tx1"/>
          </a:solidFill>
          <a:latin typeface="+mn-lt"/>
          <a:ea typeface="+mn-ea"/>
          <a:cs typeface="+mn-cs"/>
        </a:defRPr>
      </a:lvl2pPr>
      <a:lvl3pPr marL="742928" algn="l" defTabSz="742928" rtl="0" eaLnBrk="1" latinLnBrk="0" hangingPunct="1">
        <a:defRPr kumimoji="1" sz="1463" kern="1200">
          <a:solidFill>
            <a:schemeClr val="tx1"/>
          </a:solidFill>
          <a:latin typeface="+mn-lt"/>
          <a:ea typeface="+mn-ea"/>
          <a:cs typeface="+mn-cs"/>
        </a:defRPr>
      </a:lvl3pPr>
      <a:lvl4pPr marL="1114391" algn="l" defTabSz="742928" rtl="0" eaLnBrk="1" latinLnBrk="0" hangingPunct="1">
        <a:defRPr kumimoji="1" sz="1463" kern="1200">
          <a:solidFill>
            <a:schemeClr val="tx1"/>
          </a:solidFill>
          <a:latin typeface="+mn-lt"/>
          <a:ea typeface="+mn-ea"/>
          <a:cs typeface="+mn-cs"/>
        </a:defRPr>
      </a:lvl4pPr>
      <a:lvl5pPr marL="1485854" algn="l" defTabSz="742928" rtl="0" eaLnBrk="1" latinLnBrk="0" hangingPunct="1">
        <a:defRPr kumimoji="1" sz="1463" kern="1200">
          <a:solidFill>
            <a:schemeClr val="tx1"/>
          </a:solidFill>
          <a:latin typeface="+mn-lt"/>
          <a:ea typeface="+mn-ea"/>
          <a:cs typeface="+mn-cs"/>
        </a:defRPr>
      </a:lvl5pPr>
      <a:lvl6pPr marL="1857318" algn="l" defTabSz="742928" rtl="0" eaLnBrk="1" latinLnBrk="0" hangingPunct="1">
        <a:defRPr kumimoji="1" sz="1463" kern="1200">
          <a:solidFill>
            <a:schemeClr val="tx1"/>
          </a:solidFill>
          <a:latin typeface="+mn-lt"/>
          <a:ea typeface="+mn-ea"/>
          <a:cs typeface="+mn-cs"/>
        </a:defRPr>
      </a:lvl6pPr>
      <a:lvl7pPr marL="2228782" algn="l" defTabSz="742928" rtl="0" eaLnBrk="1" latinLnBrk="0" hangingPunct="1">
        <a:defRPr kumimoji="1" sz="1463" kern="1200">
          <a:solidFill>
            <a:schemeClr val="tx1"/>
          </a:solidFill>
          <a:latin typeface="+mn-lt"/>
          <a:ea typeface="+mn-ea"/>
          <a:cs typeface="+mn-cs"/>
        </a:defRPr>
      </a:lvl7pPr>
      <a:lvl8pPr marL="2600245" algn="l" defTabSz="742928" rtl="0" eaLnBrk="1" latinLnBrk="0" hangingPunct="1">
        <a:defRPr kumimoji="1" sz="1463" kern="1200">
          <a:solidFill>
            <a:schemeClr val="tx1"/>
          </a:solidFill>
          <a:latin typeface="+mn-lt"/>
          <a:ea typeface="+mn-ea"/>
          <a:cs typeface="+mn-cs"/>
        </a:defRPr>
      </a:lvl8pPr>
      <a:lvl9pPr marL="2971709" algn="l" defTabSz="742928" rtl="0" eaLnBrk="1" latinLnBrk="0" hangingPunct="1">
        <a:defRPr kumimoji="1"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hyperlink" Target="https://mindmeister.jp/" TargetMode="External"/><Relationship Id="rId1" Type="http://schemas.openxmlformats.org/officeDocument/2006/relationships/slideLayout" Target="../slideLayouts/slideLayout5.xml"/><Relationship Id="rId6" Type="http://schemas.openxmlformats.org/officeDocument/2006/relationships/hyperlink" Target="https://miro.com/ja/" TargetMode="Externa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スライド番号プレースホルダー 1">
            <a:extLst>
              <a:ext uri="{FF2B5EF4-FFF2-40B4-BE49-F238E27FC236}">
                <a16:creationId xmlns:a16="http://schemas.microsoft.com/office/drawing/2014/main" id="{D9D3E533-4515-30F9-9B30-0D3536A72234}"/>
              </a:ext>
            </a:extLst>
          </p:cNvPr>
          <p:cNvSpPr>
            <a:spLocks noGrp="1"/>
          </p:cNvSpPr>
          <p:nvPr>
            <p:ph type="sldNum" sz="quarter" idx="12"/>
          </p:nvPr>
        </p:nvSpPr>
        <p:spPr/>
        <p:txBody>
          <a:bodyPr/>
          <a:lstStyle/>
          <a:p>
            <a:fld id="{4C3E7FFA-7CC9-7749-8BE5-606DD00A2B0C}" type="slidenum">
              <a:rPr lang="ja-JP" altLang="en-US" smtClean="0"/>
              <a:pPr/>
              <a:t>0</a:t>
            </a:fld>
            <a:endParaRPr lang="ja-JP" altLang="en-US"/>
          </a:p>
        </p:txBody>
      </p:sp>
      <p:sp>
        <p:nvSpPr>
          <p:cNvPr id="4" name="字幕 3">
            <a:extLst>
              <a:ext uri="{FF2B5EF4-FFF2-40B4-BE49-F238E27FC236}">
                <a16:creationId xmlns:a16="http://schemas.microsoft.com/office/drawing/2014/main" id="{C7F9FED7-64D2-2549-E6D5-B8F3EE40230C}"/>
              </a:ext>
            </a:extLst>
          </p:cNvPr>
          <p:cNvSpPr>
            <a:spLocks noGrp="1"/>
          </p:cNvSpPr>
          <p:nvPr>
            <p:ph type="subTitle" idx="1"/>
          </p:nvPr>
        </p:nvSpPr>
        <p:spPr/>
        <p:txBody>
          <a:bodyPr/>
          <a:lstStyle/>
          <a:p>
            <a:r>
              <a:rPr lang="ja-JP" altLang="en-US" kern="0">
                <a:latin typeface="BIZ UDPゴシック" panose="020B0400000000000000" pitchFamily="50" charset="-128"/>
                <a:ea typeface="BIZ UDPゴシック" panose="020B0400000000000000" pitchFamily="50" charset="-128"/>
                <a:cs typeface="Arial" pitchFamily="34" charset="0"/>
              </a:rPr>
              <a:t>問題に潜む“真因課題”とは何か？</a:t>
            </a:r>
            <a:endParaRPr lang="en-US" altLang="ja-JP" kern="0">
              <a:latin typeface="BIZ UDPゴシック" panose="020B0400000000000000" pitchFamily="50" charset="-128"/>
              <a:ea typeface="BIZ UDPゴシック" panose="020B0400000000000000" pitchFamily="50" charset="-128"/>
              <a:cs typeface="Arial" pitchFamily="34" charset="0"/>
            </a:endParaRPr>
          </a:p>
        </p:txBody>
      </p:sp>
      <p:sp>
        <p:nvSpPr>
          <p:cNvPr id="6" name="コンテンツ プレースホルダ 2">
            <a:extLst>
              <a:ext uri="{FF2B5EF4-FFF2-40B4-BE49-F238E27FC236}">
                <a16:creationId xmlns:a16="http://schemas.microsoft.com/office/drawing/2014/main" id="{18D20620-1413-21F7-FA58-B6C7DE1D191D}"/>
              </a:ext>
            </a:extLst>
          </p:cNvPr>
          <p:cNvSpPr txBox="1">
            <a:spLocks/>
          </p:cNvSpPr>
          <p:nvPr/>
        </p:nvSpPr>
        <p:spPr>
          <a:xfrm>
            <a:off x="893244" y="819592"/>
            <a:ext cx="7357512" cy="1468535"/>
          </a:xfrm>
          <a:prstGeom prst="rect">
            <a:avLst/>
          </a:prstGeom>
        </p:spPr>
        <p:txBody>
          <a:bodyPr vert="horz" lIns="68580" tIns="34290" rIns="68580" bIns="34290" rtlCol="0">
            <a:noAutofit/>
          </a:bodyPr>
          <a:lstStyle>
            <a:lvl1pPr marL="0" indent="0" algn="l" defTabSz="990570" rtl="0" eaLnBrk="1" latinLnBrk="0" hangingPunct="1">
              <a:lnSpc>
                <a:spcPct val="90000"/>
              </a:lnSpc>
              <a:spcBef>
                <a:spcPts val="1083"/>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1pPr>
            <a:lvl2pPr marL="495285" indent="0" algn="ctr" defTabSz="990570" rtl="0" eaLnBrk="1" latinLnBrk="0" hangingPunct="1">
              <a:lnSpc>
                <a:spcPct val="90000"/>
              </a:lnSpc>
              <a:spcBef>
                <a:spcPts val="542"/>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2pPr>
            <a:lvl3pPr marL="990570" indent="0" algn="ctr" defTabSz="990570" rtl="0" eaLnBrk="1" latinLnBrk="0" hangingPunct="1">
              <a:lnSpc>
                <a:spcPct val="90000"/>
              </a:lnSpc>
              <a:spcBef>
                <a:spcPts val="542"/>
              </a:spcBef>
              <a:buFont typeface="Arial" panose="020B0604020202020204" pitchFamily="34" charset="0"/>
              <a:buNone/>
              <a:defRPr kumimoji="1" sz="1950" b="1" kern="1200">
                <a:solidFill>
                  <a:schemeClr val="tx1"/>
                </a:solidFill>
                <a:latin typeface="Hiragino Sans W4" panose="020B0400000000000000" pitchFamily="34" charset="-128"/>
                <a:ea typeface="Hiragino Sans W4" panose="020B0400000000000000" pitchFamily="34" charset="-128"/>
                <a:cs typeface="+mn-cs"/>
              </a:defRPr>
            </a:lvl3pPr>
            <a:lvl4pPr marL="1485854"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4pPr>
            <a:lvl5pPr marL="1981139"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5pPr>
            <a:lvl6pPr marL="2476424"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6pPr>
            <a:lvl7pPr marL="2971709"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7pPr>
            <a:lvl8pPr marL="3466993"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8pPr>
            <a:lvl9pPr marL="3962278"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9pPr>
          </a:lstStyle>
          <a:p>
            <a:r>
              <a:rPr lang="ja-JP" altLang="en-US" sz="1800">
                <a:latin typeface="BIZ UDPゴシック" panose="020B0400000000000000" pitchFamily="50" charset="-128"/>
                <a:ea typeface="BIZ UDPゴシック" panose="020B0400000000000000" pitchFamily="50" charset="-128"/>
              </a:rPr>
              <a:t>◎真因課題とは？</a:t>
            </a:r>
            <a:endParaRPr lang="en-US" altLang="ja-JP" sz="1800">
              <a:latin typeface="BIZ UDPゴシック" panose="020B0400000000000000" pitchFamily="50" charset="-128"/>
              <a:ea typeface="BIZ UDPゴシック" panose="020B0400000000000000" pitchFamily="50" charset="-128"/>
            </a:endParaRPr>
          </a:p>
          <a:p>
            <a:pPr>
              <a:lnSpc>
                <a:spcPct val="100000"/>
              </a:lnSpc>
              <a:buFont typeface="Wingdings" pitchFamily="2" charset="2"/>
              <a:buChar char="ü"/>
            </a:pPr>
            <a:r>
              <a:rPr lang="ja-JP" altLang="en-US" sz="1800" b="0">
                <a:latin typeface="BIZ UDPゴシック" panose="020B0400000000000000" pitchFamily="50" charset="-128"/>
                <a:ea typeface="BIZ UDPゴシック" panose="020B0400000000000000" pitchFamily="50" charset="-128"/>
              </a:rPr>
              <a:t>その問題を生じさせている原因</a:t>
            </a:r>
            <a:r>
              <a:rPr lang="en-US" altLang="ja-JP" sz="1800" b="0">
                <a:latin typeface="BIZ UDPゴシック" panose="020B0400000000000000" pitchFamily="50" charset="-128"/>
                <a:ea typeface="BIZ UDPゴシック" panose="020B0400000000000000" pitchFamily="50" charset="-128"/>
              </a:rPr>
              <a:t>(</a:t>
            </a:r>
            <a:r>
              <a:rPr lang="ja-JP" altLang="en-US" sz="1800" b="0">
                <a:latin typeface="BIZ UDPゴシック" panose="020B0400000000000000" pitchFamily="50" charset="-128"/>
                <a:ea typeface="BIZ UDPゴシック" panose="020B0400000000000000" pitchFamily="50" charset="-128"/>
              </a:rPr>
              <a:t>課題</a:t>
            </a:r>
            <a:r>
              <a:rPr lang="en-US" altLang="ja-JP" sz="1800" b="0">
                <a:latin typeface="BIZ UDPゴシック" panose="020B0400000000000000" pitchFamily="50" charset="-128"/>
                <a:ea typeface="BIZ UDPゴシック" panose="020B0400000000000000" pitchFamily="50" charset="-128"/>
              </a:rPr>
              <a:t>)</a:t>
            </a:r>
            <a:r>
              <a:rPr lang="ja-JP" altLang="en-US" sz="1800" b="0">
                <a:latin typeface="BIZ UDPゴシック" panose="020B0400000000000000" pitchFamily="50" charset="-128"/>
                <a:ea typeface="BIZ UDPゴシック" panose="020B0400000000000000" pitchFamily="50" charset="-128"/>
              </a:rPr>
              <a:t>の中で</a:t>
            </a:r>
            <a:br>
              <a:rPr lang="en-US" altLang="ja-JP" sz="1800" b="0">
                <a:latin typeface="BIZ UDPゴシック" panose="020B0400000000000000" pitchFamily="50" charset="-128"/>
                <a:ea typeface="BIZ UDPゴシック" panose="020B0400000000000000" pitchFamily="50" charset="-128"/>
              </a:rPr>
            </a:br>
            <a:r>
              <a:rPr lang="en-US" altLang="ja-JP" sz="1800" b="0">
                <a:latin typeface="BIZ UDPゴシック" panose="020B0400000000000000" pitchFamily="50" charset="-128"/>
                <a:ea typeface="BIZ UDPゴシック" panose="020B0400000000000000" pitchFamily="50" charset="-128"/>
              </a:rPr>
              <a:t>  </a:t>
            </a:r>
            <a:r>
              <a:rPr lang="ja-JP" altLang="en-US" sz="1800" u="sng">
                <a:latin typeface="BIZ UDPゴシック" panose="020B0400000000000000" pitchFamily="50" charset="-128"/>
                <a:ea typeface="BIZ UDPゴシック" panose="020B0400000000000000" pitchFamily="50" charset="-128"/>
              </a:rPr>
              <a:t>「最も影響力が大きく、優先的に解決しなければならない課題」</a:t>
            </a:r>
            <a:r>
              <a:rPr lang="ja-JP" altLang="en-US" sz="1800" b="0">
                <a:latin typeface="BIZ UDPゴシック" panose="020B0400000000000000" pitchFamily="50" charset="-128"/>
                <a:ea typeface="BIZ UDPゴシック" panose="020B0400000000000000" pitchFamily="50" charset="-128"/>
              </a:rPr>
              <a:t>のこと</a:t>
            </a:r>
            <a:endParaRPr lang="en-US" altLang="ja-JP" sz="1800" b="0">
              <a:latin typeface="BIZ UDPゴシック" panose="020B0400000000000000" pitchFamily="50" charset="-128"/>
              <a:ea typeface="BIZ UDPゴシック" panose="020B0400000000000000" pitchFamily="50" charset="-128"/>
            </a:endParaRPr>
          </a:p>
          <a:p>
            <a:pPr>
              <a:lnSpc>
                <a:spcPct val="100000"/>
              </a:lnSpc>
            </a:pPr>
            <a:r>
              <a:rPr lang="ja-JP" altLang="en-US" sz="1800" b="0">
                <a:latin typeface="BIZ UDPゴシック" panose="020B0400000000000000" pitchFamily="50" charset="-128"/>
                <a:ea typeface="BIZ UDPゴシック" panose="020B0400000000000000" pitchFamily="50" charset="-128"/>
              </a:rPr>
              <a:t>　⇒ビジネス界隈だと英語を文字り</a:t>
            </a:r>
            <a:r>
              <a:rPr lang="ja-JP" altLang="en-US" sz="1800" u="sng">
                <a:latin typeface="BIZ UDPゴシック" panose="020B0400000000000000" pitchFamily="50" charset="-128"/>
                <a:ea typeface="BIZ UDPゴシック" panose="020B0400000000000000" pitchFamily="50" charset="-128"/>
              </a:rPr>
              <a:t>“イシュー”</a:t>
            </a:r>
            <a:r>
              <a:rPr lang="ja-JP" altLang="en-US" sz="1800" b="0">
                <a:latin typeface="BIZ UDPゴシック" panose="020B0400000000000000" pitchFamily="50" charset="-128"/>
                <a:ea typeface="BIZ UDPゴシック" panose="020B0400000000000000" pitchFamily="50" charset="-128"/>
              </a:rPr>
              <a:t>と呼ばれたりもしている</a:t>
            </a:r>
            <a:br>
              <a:rPr lang="en-US" altLang="ja-JP" sz="1800" b="0">
                <a:latin typeface="BIZ UDPゴシック" panose="020B0400000000000000" pitchFamily="50" charset="-128"/>
                <a:ea typeface="BIZ UDPゴシック" panose="020B0400000000000000" pitchFamily="50" charset="-128"/>
              </a:rPr>
            </a:br>
            <a:endParaRPr lang="ja-JP" altLang="en-US" sz="1800">
              <a:latin typeface="BIZ UDPゴシック" panose="020B0400000000000000" pitchFamily="50" charset="-128"/>
              <a:ea typeface="BIZ UDPゴシック" panose="020B0400000000000000" pitchFamily="50" charset="-128"/>
            </a:endParaRPr>
          </a:p>
        </p:txBody>
      </p:sp>
      <p:sp>
        <p:nvSpPr>
          <p:cNvPr id="7" name="右矢印 22">
            <a:extLst>
              <a:ext uri="{FF2B5EF4-FFF2-40B4-BE49-F238E27FC236}">
                <a16:creationId xmlns:a16="http://schemas.microsoft.com/office/drawing/2014/main" id="{D7B9E6D8-BB03-8815-84B3-CB9496B0A978}"/>
              </a:ext>
            </a:extLst>
          </p:cNvPr>
          <p:cNvSpPr>
            <a:spLocks noChangeArrowheads="1"/>
          </p:cNvSpPr>
          <p:nvPr/>
        </p:nvSpPr>
        <p:spPr bwMode="auto">
          <a:xfrm rot="5400000">
            <a:off x="4430482" y="2203836"/>
            <a:ext cx="283037" cy="1074774"/>
          </a:xfrm>
          <a:prstGeom prst="rightArrow">
            <a:avLst>
              <a:gd name="adj1" fmla="val 100000"/>
              <a:gd name="adj2" fmla="val 100000"/>
            </a:avLst>
          </a:prstGeom>
          <a:solidFill>
            <a:schemeClr val="tx1"/>
          </a:solidFill>
          <a:ln>
            <a:noFill/>
          </a:ln>
        </p:spPr>
        <p:txBody>
          <a:bodyPr/>
          <a:lstStyle>
            <a:lvl1pPr marL="342900" indent="-342900">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375">
              <a:solidFill>
                <a:schemeClr val="tx1">
                  <a:lumMod val="75000"/>
                  <a:lumOff val="25000"/>
                </a:schemeClr>
              </a:solidFill>
              <a:latin typeface="BIZ UDPゴシック" panose="020B0400000000000000" pitchFamily="50" charset="-128"/>
              <a:ea typeface="BIZ UDPゴシック" panose="020B0400000000000000" pitchFamily="50" charset="-128"/>
            </a:endParaRPr>
          </a:p>
        </p:txBody>
      </p:sp>
      <p:sp>
        <p:nvSpPr>
          <p:cNvPr id="8" name="正方形/長方形 23">
            <a:extLst>
              <a:ext uri="{FF2B5EF4-FFF2-40B4-BE49-F238E27FC236}">
                <a16:creationId xmlns:a16="http://schemas.microsoft.com/office/drawing/2014/main" id="{EEFBC867-A2BA-44ED-5509-038814CDC46D}"/>
              </a:ext>
            </a:extLst>
          </p:cNvPr>
          <p:cNvSpPr>
            <a:spLocks noChangeArrowheads="1"/>
          </p:cNvSpPr>
          <p:nvPr/>
        </p:nvSpPr>
        <p:spPr bwMode="auto">
          <a:xfrm>
            <a:off x="893244" y="3222331"/>
            <a:ext cx="7068797" cy="167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685800" fontAlgn="base">
              <a:spcAft>
                <a:spcPct val="0"/>
              </a:spcAft>
              <a:buNone/>
              <a:defRPr/>
            </a:pPr>
            <a:r>
              <a:rPr lang="ja-JP" altLang="en-US" sz="1800">
                <a:solidFill>
                  <a:srgbClr val="FF0000"/>
                </a:solidFill>
                <a:latin typeface="BIZ UDPゴシック" panose="020B0400000000000000" pitchFamily="50" charset="-128"/>
                <a:ea typeface="BIZ UDPゴシック" panose="020B0400000000000000" pitchFamily="50" charset="-128"/>
              </a:rPr>
              <a:t>事業アイデアを発見し、</a:t>
            </a:r>
            <a:br>
              <a:rPr lang="en-US" altLang="ja-JP" sz="1800" dirty="0">
                <a:solidFill>
                  <a:srgbClr val="FF0000"/>
                </a:solidFill>
                <a:latin typeface="BIZ UDPゴシック" panose="020B0400000000000000" pitchFamily="50" charset="-128"/>
                <a:ea typeface="BIZ UDPゴシック" panose="020B0400000000000000" pitchFamily="50" charset="-128"/>
              </a:rPr>
            </a:br>
            <a:r>
              <a:rPr lang="ja-JP" altLang="en-US" sz="1800">
                <a:solidFill>
                  <a:srgbClr val="FF0000"/>
                </a:solidFill>
                <a:latin typeface="BIZ UDPゴシック" panose="020B0400000000000000" pitchFamily="50" charset="-128"/>
                <a:ea typeface="BIZ UDPゴシック" panose="020B0400000000000000" pitchFamily="50" charset="-128"/>
              </a:rPr>
              <a:t>事業プランを考えていくことの“出発点”となる重要なポイント</a:t>
            </a:r>
            <a:endParaRPr lang="en-US" altLang="ja-JP" sz="1800" dirty="0">
              <a:solidFill>
                <a:srgbClr val="FF0000"/>
              </a:solidFill>
              <a:latin typeface="BIZ UDPゴシック" panose="020B0400000000000000" pitchFamily="50" charset="-128"/>
              <a:ea typeface="BIZ UDPゴシック" panose="020B0400000000000000" pitchFamily="50" charset="-128"/>
            </a:endParaRPr>
          </a:p>
          <a:p>
            <a:pPr defTabSz="685800" fontAlgn="base">
              <a:spcAft>
                <a:spcPct val="0"/>
              </a:spcAft>
              <a:buNone/>
              <a:defRPr/>
            </a:pPr>
            <a:endParaRPr lang="en-US" altLang="ja-JP" sz="1200" dirty="0">
              <a:solidFill>
                <a:srgbClr val="FF0000"/>
              </a:solidFill>
              <a:latin typeface="BIZ UDPゴシック" panose="020B0400000000000000" pitchFamily="50" charset="-128"/>
              <a:ea typeface="BIZ UDPゴシック" panose="020B0400000000000000" pitchFamily="50" charset="-128"/>
            </a:endParaRPr>
          </a:p>
          <a:p>
            <a:pPr defTabSz="685800" fontAlgn="base">
              <a:spcAft>
                <a:spcPct val="0"/>
              </a:spcAft>
              <a:buNone/>
              <a:defRPr/>
            </a:pPr>
            <a:r>
              <a:rPr lang="ja-JP" altLang="en-US" sz="1800">
                <a:solidFill>
                  <a:srgbClr val="FF0000"/>
                </a:solidFill>
                <a:latin typeface="BIZ UDPゴシック" panose="020B0400000000000000" pitchFamily="50" charset="-128"/>
                <a:ea typeface="BIZ UDPゴシック" panose="020B0400000000000000" pitchFamily="50" charset="-128"/>
              </a:rPr>
              <a:t>⇒この出発点が曖昧なままや、取り間違えてしまうと、</a:t>
            </a:r>
            <a:br>
              <a:rPr lang="en-US" altLang="ja-JP" sz="1800" dirty="0">
                <a:solidFill>
                  <a:srgbClr val="FF0000"/>
                </a:solidFill>
                <a:latin typeface="BIZ UDPゴシック" panose="020B0400000000000000" pitchFamily="50" charset="-128"/>
                <a:ea typeface="BIZ UDPゴシック" panose="020B0400000000000000" pitchFamily="50" charset="-128"/>
              </a:rPr>
            </a:br>
            <a:r>
              <a:rPr lang="ja-JP" altLang="en-US" sz="1800">
                <a:solidFill>
                  <a:srgbClr val="FF0000"/>
                </a:solidFill>
                <a:latin typeface="BIZ UDPゴシック" panose="020B0400000000000000" pitchFamily="50" charset="-128"/>
                <a:ea typeface="BIZ UDPゴシック" panose="020B0400000000000000" pitchFamily="50" charset="-128"/>
              </a:rPr>
              <a:t>　見当違いな</a:t>
            </a:r>
            <a:r>
              <a:rPr lang="en-US" altLang="ja-JP" sz="1800" dirty="0">
                <a:solidFill>
                  <a:srgbClr val="FF0000"/>
                </a:solidFill>
                <a:latin typeface="BIZ UDPゴシック" panose="020B0400000000000000" pitchFamily="50" charset="-128"/>
                <a:ea typeface="BIZ UDPゴシック" panose="020B0400000000000000" pitchFamily="50" charset="-128"/>
              </a:rPr>
              <a:t>(</a:t>
            </a:r>
            <a:r>
              <a:rPr lang="ja-JP" altLang="en-US" sz="1800">
                <a:solidFill>
                  <a:srgbClr val="FF0000"/>
                </a:solidFill>
                <a:latin typeface="BIZ UDPゴシック" panose="020B0400000000000000" pitchFamily="50" charset="-128"/>
                <a:ea typeface="BIZ UDPゴシック" panose="020B0400000000000000" pitchFamily="50" charset="-128"/>
              </a:rPr>
              <a:t>ユーザーの目線でない</a:t>
            </a:r>
            <a:r>
              <a:rPr lang="en-US" altLang="ja-JP" sz="1800" dirty="0">
                <a:solidFill>
                  <a:srgbClr val="FF0000"/>
                </a:solidFill>
                <a:latin typeface="BIZ UDPゴシック" panose="020B0400000000000000" pitchFamily="50" charset="-128"/>
                <a:ea typeface="BIZ UDPゴシック" panose="020B0400000000000000" pitchFamily="50" charset="-128"/>
              </a:rPr>
              <a:t>)</a:t>
            </a:r>
            <a:r>
              <a:rPr lang="ja-JP" altLang="en-US" sz="1800">
                <a:solidFill>
                  <a:srgbClr val="FF0000"/>
                </a:solidFill>
                <a:latin typeface="BIZ UDPゴシック" panose="020B0400000000000000" pitchFamily="50" charset="-128"/>
                <a:ea typeface="BIZ UDPゴシック" panose="020B0400000000000000" pitchFamily="50" charset="-128"/>
              </a:rPr>
              <a:t>事業プランになってしまう！</a:t>
            </a:r>
            <a:endParaRPr lang="en-US" altLang="ja-JP" sz="1800" dirty="0">
              <a:solidFill>
                <a:srgbClr val="FF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9574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36EF4-1E83-41A1-DE02-7A8755CD1461}"/>
            </a:ext>
          </a:extLst>
        </p:cNvPr>
        <p:cNvGrpSpPr/>
        <p:nvPr/>
      </p:nvGrpSpPr>
      <p:grpSpPr>
        <a:xfrm>
          <a:off x="0" y="0"/>
          <a:ext cx="0" cy="0"/>
          <a:chOff x="0" y="0"/>
          <a:chExt cx="0" cy="0"/>
        </a:xfrm>
      </p:grpSpPr>
      <p:sp>
        <p:nvSpPr>
          <p:cNvPr id="4" name="字幕 3">
            <a:extLst>
              <a:ext uri="{FF2B5EF4-FFF2-40B4-BE49-F238E27FC236}">
                <a16:creationId xmlns:a16="http://schemas.microsoft.com/office/drawing/2014/main" id="{02A5AF5D-263A-6C22-841F-BF319173955C}"/>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真因課題を検討するフレームワークの使用例</a:t>
            </a:r>
            <a:endParaRPr lang="en-US" altLang="ja-JP" kern="0">
              <a:latin typeface="BIZ UDPGothic" panose="020B0400000000000000" pitchFamily="34" charset="-128"/>
              <a:ea typeface="BIZ UDPGothic" panose="020B0400000000000000" pitchFamily="34" charset="-128"/>
              <a:cs typeface="Arial" pitchFamily="34" charset="0"/>
            </a:endParaRPr>
          </a:p>
        </p:txBody>
      </p:sp>
      <p:sp>
        <p:nvSpPr>
          <p:cNvPr id="45" name="スライド番号プレースホルダー 1">
            <a:extLst>
              <a:ext uri="{FF2B5EF4-FFF2-40B4-BE49-F238E27FC236}">
                <a16:creationId xmlns:a16="http://schemas.microsoft.com/office/drawing/2014/main" id="{5A5F1D57-8BD9-8FD1-4B9B-A51EDF53A0A3}"/>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latin typeface="BIZ UDPGothic" panose="020B0400000000000000" pitchFamily="34" charset="-128"/>
                <a:ea typeface="BIZ UDPGothic" panose="020B0400000000000000" pitchFamily="34" charset="-128"/>
              </a:rPr>
              <a:t>1</a:t>
            </a:fld>
            <a:endParaRPr kumimoji="1" lang="ja-JP" altLang="en-US">
              <a:latin typeface="BIZ UDPGothic" panose="020B0400000000000000" pitchFamily="34" charset="-128"/>
              <a:ea typeface="BIZ UDPGothic" panose="020B0400000000000000" pitchFamily="34" charset="-128"/>
            </a:endParaRPr>
          </a:p>
        </p:txBody>
      </p:sp>
      <p:grpSp>
        <p:nvGrpSpPr>
          <p:cNvPr id="76" name="グループ化 75">
            <a:extLst>
              <a:ext uri="{FF2B5EF4-FFF2-40B4-BE49-F238E27FC236}">
                <a16:creationId xmlns:a16="http://schemas.microsoft.com/office/drawing/2014/main" id="{8BC50B3A-A986-F8E6-C816-EE0F11DCA4FD}"/>
              </a:ext>
            </a:extLst>
          </p:cNvPr>
          <p:cNvGrpSpPr/>
          <p:nvPr/>
        </p:nvGrpSpPr>
        <p:grpSpPr>
          <a:xfrm>
            <a:off x="1011767" y="1144503"/>
            <a:ext cx="7120466" cy="3596749"/>
            <a:chOff x="1011767" y="985376"/>
            <a:chExt cx="7120466" cy="3596749"/>
          </a:xfrm>
        </p:grpSpPr>
        <p:grpSp>
          <p:nvGrpSpPr>
            <p:cNvPr id="2" name="グループ化 1">
              <a:extLst>
                <a:ext uri="{FF2B5EF4-FFF2-40B4-BE49-F238E27FC236}">
                  <a16:creationId xmlns:a16="http://schemas.microsoft.com/office/drawing/2014/main" id="{DAAD983F-5B10-41C2-0BB1-E4871EDFE853}"/>
                </a:ext>
              </a:extLst>
            </p:cNvPr>
            <p:cNvGrpSpPr/>
            <p:nvPr/>
          </p:nvGrpSpPr>
          <p:grpSpPr>
            <a:xfrm>
              <a:off x="1011767" y="1371306"/>
              <a:ext cx="7120466" cy="3210819"/>
              <a:chOff x="972299" y="877586"/>
              <a:chExt cx="7120466" cy="3210819"/>
            </a:xfrm>
          </p:grpSpPr>
          <p:sp>
            <p:nvSpPr>
              <p:cNvPr id="18" name="テキスト ボックス 17">
                <a:extLst>
                  <a:ext uri="{FF2B5EF4-FFF2-40B4-BE49-F238E27FC236}">
                    <a16:creationId xmlns:a16="http://schemas.microsoft.com/office/drawing/2014/main" id="{BFD1F757-BCBE-77E0-D793-67725EDB5C66}"/>
                  </a:ext>
                </a:extLst>
              </p:cNvPr>
              <p:cNvSpPr txBox="1"/>
              <p:nvPr/>
            </p:nvSpPr>
            <p:spPr>
              <a:xfrm>
                <a:off x="972299" y="877586"/>
                <a:ext cx="128801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問題</a:t>
                </a:r>
                <a:endParaRPr lang="en-US" altLang="ja-JP" sz="1350" b="1" u="sng">
                  <a:latin typeface="BIZ UDPGothic" panose="020B0400000000000000" pitchFamily="34" charset="-128"/>
                  <a:ea typeface="BIZ UDPGothic" panose="020B0400000000000000" pitchFamily="34" charset="-128"/>
                  <a:cs typeface="Calibri"/>
                </a:endParaRPr>
              </a:p>
            </p:txBody>
          </p:sp>
          <p:sp>
            <p:nvSpPr>
              <p:cNvPr id="20" name="テキスト ボックス 19">
                <a:extLst>
                  <a:ext uri="{FF2B5EF4-FFF2-40B4-BE49-F238E27FC236}">
                    <a16:creationId xmlns:a16="http://schemas.microsoft.com/office/drawing/2014/main" id="{1D4BDF2D-AD09-103E-203C-41EC8B7B1498}"/>
                  </a:ext>
                </a:extLst>
              </p:cNvPr>
              <p:cNvSpPr txBox="1"/>
              <p:nvPr/>
            </p:nvSpPr>
            <p:spPr>
              <a:xfrm>
                <a:off x="3297328" y="882725"/>
                <a:ext cx="128801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課題</a:t>
                </a:r>
                <a:r>
                  <a:rPr lang="en-US" altLang="ja-JP" sz="1350" b="1" u="sng">
                    <a:latin typeface="BIZ UDPGothic" panose="020B0400000000000000" pitchFamily="34" charset="-128"/>
                    <a:ea typeface="BIZ UDPGothic" panose="020B0400000000000000" pitchFamily="34" charset="-128"/>
                  </a:rPr>
                  <a:t>(</a:t>
                </a:r>
                <a:r>
                  <a:rPr lang="ja-JP" altLang="en-US" sz="1350" b="1" u="sng">
                    <a:latin typeface="BIZ UDPGothic" panose="020B0400000000000000" pitchFamily="34" charset="-128"/>
                    <a:ea typeface="BIZ UDPGothic" panose="020B0400000000000000" pitchFamily="34" charset="-128"/>
                  </a:rPr>
                  <a:t>仮説</a:t>
                </a:r>
                <a:r>
                  <a:rPr lang="en-US" altLang="ja-JP" sz="1350" b="1" u="sng">
                    <a:latin typeface="BIZ UDPGothic" panose="020B0400000000000000" pitchFamily="34" charset="-128"/>
                    <a:ea typeface="BIZ UDPGothic" panose="020B0400000000000000" pitchFamily="34" charset="-128"/>
                  </a:rPr>
                  <a:t>)</a:t>
                </a:r>
              </a:p>
            </p:txBody>
          </p:sp>
          <p:sp>
            <p:nvSpPr>
              <p:cNvPr id="21" name="テキスト ボックス 20">
                <a:extLst>
                  <a:ext uri="{FF2B5EF4-FFF2-40B4-BE49-F238E27FC236}">
                    <a16:creationId xmlns:a16="http://schemas.microsoft.com/office/drawing/2014/main" id="{0458E723-12F9-0412-F958-9650BDCC1E48}"/>
                  </a:ext>
                </a:extLst>
              </p:cNvPr>
              <p:cNvSpPr txBox="1"/>
              <p:nvPr/>
            </p:nvSpPr>
            <p:spPr>
              <a:xfrm>
                <a:off x="5798334" y="898310"/>
                <a:ext cx="206184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打ち手</a:t>
                </a:r>
                <a:r>
                  <a:rPr lang="en-US" altLang="ja-JP" sz="1350" b="1" u="sng">
                    <a:latin typeface="BIZ UDPGothic" panose="020B0400000000000000" pitchFamily="34" charset="-128"/>
                    <a:ea typeface="BIZ UDPGothic" panose="020B0400000000000000" pitchFamily="34" charset="-128"/>
                  </a:rPr>
                  <a:t>(</a:t>
                </a:r>
                <a:r>
                  <a:rPr lang="ja-JP" altLang="en-US" sz="1350" b="1" u="sng">
                    <a:latin typeface="BIZ UDPGothic" panose="020B0400000000000000" pitchFamily="34" charset="-128"/>
                    <a:ea typeface="BIZ UDPGothic" panose="020B0400000000000000" pitchFamily="34" charset="-128"/>
                  </a:rPr>
                  <a:t>解決策</a:t>
                </a:r>
                <a:r>
                  <a:rPr lang="en-US" altLang="ja-JP" sz="1350" b="1" u="sng">
                    <a:latin typeface="BIZ UDPGothic" panose="020B0400000000000000" pitchFamily="34" charset="-128"/>
                    <a:ea typeface="BIZ UDPGothic" panose="020B0400000000000000" pitchFamily="34" charset="-128"/>
                  </a:rPr>
                  <a:t>)</a:t>
                </a:r>
              </a:p>
            </p:txBody>
          </p:sp>
          <p:sp>
            <p:nvSpPr>
              <p:cNvPr id="24" name="正方形/長方形 4">
                <a:extLst>
                  <a:ext uri="{FF2B5EF4-FFF2-40B4-BE49-F238E27FC236}">
                    <a16:creationId xmlns:a16="http://schemas.microsoft.com/office/drawing/2014/main" id="{B00E06AE-410B-5095-DA73-28F249118EED}"/>
                  </a:ext>
                </a:extLst>
              </p:cNvPr>
              <p:cNvSpPr>
                <a:spLocks noChangeArrowheads="1"/>
              </p:cNvSpPr>
              <p:nvPr/>
            </p:nvSpPr>
            <p:spPr bwMode="auto">
              <a:xfrm>
                <a:off x="2677822" y="1209861"/>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en-US" altLang="ja-JP" sz="1350">
                    <a:solidFill>
                      <a:srgbClr val="FF0000"/>
                    </a:solidFill>
                    <a:latin typeface="BIZ UDPGothic" panose="020B0400000000000000" pitchFamily="34" charset="-128"/>
                    <a:ea typeface="BIZ UDPGothic" panose="020B0400000000000000" pitchFamily="34" charset="-128"/>
                  </a:rPr>
                  <a:t>①</a:t>
                </a:r>
                <a:br>
                  <a:rPr lang="en-US" altLang="ja-JP" sz="1350">
                    <a:solidFill>
                      <a:srgbClr val="FF0000"/>
                    </a:solidFill>
                    <a:latin typeface="BIZ UDPGothic" panose="020B0400000000000000" pitchFamily="34" charset="-128"/>
                    <a:ea typeface="BIZ UDPGothic" panose="020B0400000000000000" pitchFamily="34" charset="-128"/>
                  </a:rPr>
                </a:br>
                <a:r>
                  <a:rPr lang="ja-JP" altLang="en-US" sz="1350">
                    <a:solidFill>
                      <a:srgbClr val="FF0000"/>
                    </a:solidFill>
                    <a:latin typeface="BIZ UDPGothic" panose="020B0400000000000000" pitchFamily="34" charset="-128"/>
                    <a:ea typeface="BIZ UDPGothic" panose="020B0400000000000000" pitchFamily="34" charset="-128"/>
                  </a:rPr>
                  <a:t>保管場所がよくない</a:t>
                </a:r>
                <a:br>
                  <a:rPr lang="en-US" altLang="ja-JP" sz="1350">
                    <a:solidFill>
                      <a:srgbClr val="FF0000"/>
                    </a:solidFill>
                    <a:latin typeface="BIZ UDPGothic" panose="020B0400000000000000" pitchFamily="34" charset="-128"/>
                    <a:ea typeface="BIZ UDPGothic" panose="020B0400000000000000" pitchFamily="34" charset="-128"/>
                  </a:rPr>
                </a:br>
                <a:r>
                  <a:rPr lang="en-US" altLang="ja-JP" sz="800">
                    <a:solidFill>
                      <a:srgbClr val="FF0000"/>
                    </a:solidFill>
                    <a:latin typeface="BIZ UDPGothic" panose="020B0400000000000000" pitchFamily="34" charset="-128"/>
                    <a:ea typeface="BIZ UDPGothic" panose="020B0400000000000000" pitchFamily="34" charset="-128"/>
                  </a:rPr>
                  <a:t>(</a:t>
                </a:r>
                <a:r>
                  <a:rPr lang="ja-JP" altLang="en-US" sz="800">
                    <a:solidFill>
                      <a:srgbClr val="FF0000"/>
                    </a:solidFill>
                    <a:latin typeface="BIZ UDPGothic" panose="020B0400000000000000" pitchFamily="34" charset="-128"/>
                    <a:ea typeface="BIZ UDPGothic" panose="020B0400000000000000" pitchFamily="34" charset="-128"/>
                  </a:rPr>
                  <a:t>監視の目が届きにくい場所に停めてある </a:t>
                </a:r>
                <a:r>
                  <a:rPr lang="en-US" altLang="ja-JP" sz="800">
                    <a:solidFill>
                      <a:srgbClr val="FF0000"/>
                    </a:solidFill>
                    <a:latin typeface="BIZ UDPGothic" panose="020B0400000000000000" pitchFamily="34" charset="-128"/>
                    <a:ea typeface="BIZ UDPGothic" panose="020B0400000000000000" pitchFamily="34" charset="-128"/>
                  </a:rPr>
                  <a:t>etc..)</a:t>
                </a:r>
                <a:endParaRPr lang="ja-JP" altLang="en-US" sz="800">
                  <a:solidFill>
                    <a:srgbClr val="FF0000"/>
                  </a:solidFill>
                  <a:latin typeface="BIZ UDPGothic" panose="020B0400000000000000" pitchFamily="34" charset="-128"/>
                  <a:ea typeface="BIZ UDPGothic" panose="020B0400000000000000" pitchFamily="34" charset="-128"/>
                </a:endParaRPr>
              </a:p>
            </p:txBody>
          </p:sp>
          <p:sp>
            <p:nvSpPr>
              <p:cNvPr id="25" name="正方形/長方形 7">
                <a:extLst>
                  <a:ext uri="{FF2B5EF4-FFF2-40B4-BE49-F238E27FC236}">
                    <a16:creationId xmlns:a16="http://schemas.microsoft.com/office/drawing/2014/main" id="{537E1F8C-FD99-636F-9C67-C7F10F7C47B4}"/>
                  </a:ext>
                </a:extLst>
              </p:cNvPr>
              <p:cNvSpPr>
                <a:spLocks noChangeArrowheads="1"/>
              </p:cNvSpPr>
              <p:nvPr/>
            </p:nvSpPr>
            <p:spPr bwMode="auto">
              <a:xfrm>
                <a:off x="1039774" y="1206809"/>
                <a:ext cx="1153067" cy="2881593"/>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ja-JP" altLang="en-US" sz="1500">
                    <a:solidFill>
                      <a:srgbClr val="000000"/>
                    </a:solidFill>
                    <a:latin typeface="BIZ UDPGothic" panose="020B0400000000000000" pitchFamily="34" charset="-128"/>
                    <a:ea typeface="BIZ UDPGothic" panose="020B0400000000000000" pitchFamily="34" charset="-128"/>
                  </a:rPr>
                  <a:t>自転車の</a:t>
                </a:r>
                <a:endParaRPr lang="en-US" altLang="ja-JP" sz="1500">
                  <a:solidFill>
                    <a:srgbClr val="000000"/>
                  </a:solidFill>
                  <a:latin typeface="BIZ UDPGothic" panose="020B0400000000000000" pitchFamily="34" charset="-128"/>
                  <a:ea typeface="BIZ UDPGothic" panose="020B0400000000000000" pitchFamily="34" charset="-128"/>
                </a:endParaRPr>
              </a:p>
              <a:p>
                <a:pPr algn="ctr" defTabSz="685800" fontAlgn="base">
                  <a:spcAft>
                    <a:spcPct val="0"/>
                  </a:spcAft>
                  <a:buNone/>
                  <a:defRPr/>
                </a:pPr>
                <a:r>
                  <a:rPr lang="ja-JP" altLang="en-US" sz="1500">
                    <a:solidFill>
                      <a:srgbClr val="000000"/>
                    </a:solidFill>
                    <a:latin typeface="BIZ UDPGothic" panose="020B0400000000000000" pitchFamily="34" charset="-128"/>
                    <a:ea typeface="BIZ UDPGothic" panose="020B0400000000000000" pitchFamily="34" charset="-128"/>
                  </a:rPr>
                  <a:t>盗難に遭う</a:t>
                </a:r>
              </a:p>
            </p:txBody>
          </p:sp>
          <p:sp>
            <p:nvSpPr>
              <p:cNvPr id="26" name="正方形/長方形 4">
                <a:extLst>
                  <a:ext uri="{FF2B5EF4-FFF2-40B4-BE49-F238E27FC236}">
                    <a16:creationId xmlns:a16="http://schemas.microsoft.com/office/drawing/2014/main" id="{27BE4D8A-12EB-497A-8CB5-0ED3EB2DBF2D}"/>
                  </a:ext>
                </a:extLst>
              </p:cNvPr>
              <p:cNvSpPr>
                <a:spLocks noChangeArrowheads="1"/>
              </p:cNvSpPr>
              <p:nvPr/>
            </p:nvSpPr>
            <p:spPr bwMode="auto">
              <a:xfrm>
                <a:off x="2677822" y="2242480"/>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en-US" altLang="ja-JP" sz="1350">
                    <a:solidFill>
                      <a:srgbClr val="000000"/>
                    </a:solidFill>
                    <a:latin typeface="BIZ UDPGothic" panose="020B0400000000000000" pitchFamily="34" charset="-128"/>
                    <a:ea typeface="BIZ UDPGothic" panose="020B0400000000000000" pitchFamily="34" charset="-128"/>
                  </a:rPr>
                  <a:t>②</a:t>
                </a:r>
                <a:br>
                  <a:rPr lang="en-US" altLang="ja-JP" sz="1350">
                    <a:solidFill>
                      <a:srgbClr val="000000"/>
                    </a:solidFill>
                    <a:latin typeface="BIZ UDPGothic" panose="020B0400000000000000" pitchFamily="34" charset="-128"/>
                    <a:ea typeface="BIZ UDPGothic" panose="020B0400000000000000" pitchFamily="34" charset="-128"/>
                  </a:rPr>
                </a:br>
                <a:r>
                  <a:rPr lang="ja-JP" altLang="en-US" sz="1350">
                    <a:solidFill>
                      <a:srgbClr val="000000"/>
                    </a:solidFill>
                    <a:latin typeface="BIZ UDPGothic" panose="020B0400000000000000" pitchFamily="34" charset="-128"/>
                    <a:ea typeface="BIZ UDPGothic" panose="020B0400000000000000" pitchFamily="34" charset="-128"/>
                  </a:rPr>
                  <a:t>鍵をかけ忘れる</a:t>
                </a:r>
              </a:p>
            </p:txBody>
          </p:sp>
          <p:sp>
            <p:nvSpPr>
              <p:cNvPr id="29" name="正方形/長方形 4">
                <a:extLst>
                  <a:ext uri="{FF2B5EF4-FFF2-40B4-BE49-F238E27FC236}">
                    <a16:creationId xmlns:a16="http://schemas.microsoft.com/office/drawing/2014/main" id="{14FDACB0-1881-76D5-D985-B1A8EE048349}"/>
                  </a:ext>
                </a:extLst>
              </p:cNvPr>
              <p:cNvSpPr>
                <a:spLocks noChangeArrowheads="1"/>
              </p:cNvSpPr>
              <p:nvPr/>
            </p:nvSpPr>
            <p:spPr bwMode="auto">
              <a:xfrm>
                <a:off x="2677822" y="3275100"/>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en-US" altLang="ja-JP" sz="1350">
                    <a:solidFill>
                      <a:srgbClr val="000000"/>
                    </a:solidFill>
                    <a:latin typeface="BIZ UDPGothic" panose="020B0400000000000000" pitchFamily="34" charset="-128"/>
                    <a:ea typeface="BIZ UDPGothic" panose="020B0400000000000000" pitchFamily="34" charset="-128"/>
                  </a:rPr>
                  <a:t>③</a:t>
                </a:r>
                <a:br>
                  <a:rPr lang="en-US" altLang="ja-JP" sz="1350">
                    <a:solidFill>
                      <a:srgbClr val="000000"/>
                    </a:solidFill>
                    <a:latin typeface="BIZ UDPGothic" panose="020B0400000000000000" pitchFamily="34" charset="-128"/>
                    <a:ea typeface="BIZ UDPGothic" panose="020B0400000000000000" pitchFamily="34" charset="-128"/>
                  </a:rPr>
                </a:br>
                <a:r>
                  <a:rPr lang="ja-JP" altLang="en-US" sz="1350">
                    <a:solidFill>
                      <a:srgbClr val="000000"/>
                    </a:solidFill>
                    <a:latin typeface="BIZ UDPGothic" panose="020B0400000000000000" pitchFamily="34" charset="-128"/>
                    <a:ea typeface="BIZ UDPGothic" panose="020B0400000000000000" pitchFamily="34" charset="-128"/>
                  </a:rPr>
                  <a:t>そもそも</a:t>
                </a:r>
                <a:br>
                  <a:rPr lang="en-US" altLang="ja-JP" sz="1350">
                    <a:solidFill>
                      <a:srgbClr val="000000"/>
                    </a:solidFill>
                    <a:latin typeface="BIZ UDPGothic" panose="020B0400000000000000" pitchFamily="34" charset="-128"/>
                    <a:ea typeface="BIZ UDPGothic" panose="020B0400000000000000" pitchFamily="34" charset="-128"/>
                  </a:rPr>
                </a:br>
                <a:r>
                  <a:rPr lang="ja-JP" altLang="en-US" sz="1350">
                    <a:solidFill>
                      <a:srgbClr val="000000"/>
                    </a:solidFill>
                    <a:latin typeface="BIZ UDPGothic" panose="020B0400000000000000" pitchFamily="34" charset="-128"/>
                    <a:ea typeface="BIZ UDPGothic" panose="020B0400000000000000" pitchFamily="34" charset="-128"/>
                  </a:rPr>
                  <a:t>鍵をつけていない</a:t>
                </a:r>
                <a:endParaRPr lang="en-US" altLang="ja-JP" sz="1350">
                  <a:solidFill>
                    <a:srgbClr val="000000"/>
                  </a:solidFill>
                  <a:latin typeface="BIZ UDPGothic" panose="020B0400000000000000" pitchFamily="34" charset="-128"/>
                  <a:ea typeface="BIZ UDPGothic" panose="020B0400000000000000" pitchFamily="34" charset="-128"/>
                </a:endParaRPr>
              </a:p>
            </p:txBody>
          </p:sp>
          <p:sp>
            <p:nvSpPr>
              <p:cNvPr id="32" name="正方形/長方形 4">
                <a:extLst>
                  <a:ext uri="{FF2B5EF4-FFF2-40B4-BE49-F238E27FC236}">
                    <a16:creationId xmlns:a16="http://schemas.microsoft.com/office/drawing/2014/main" id="{A9C2C74A-9A4F-26F7-FD45-4DC116CE9C4C}"/>
                  </a:ext>
                </a:extLst>
              </p:cNvPr>
              <p:cNvSpPr>
                <a:spLocks noChangeArrowheads="1"/>
              </p:cNvSpPr>
              <p:nvPr/>
            </p:nvSpPr>
            <p:spPr bwMode="auto">
              <a:xfrm>
                <a:off x="5565743" y="1209861"/>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ja-JP" altLang="en-US" sz="1350">
                    <a:solidFill>
                      <a:srgbClr val="FF0000"/>
                    </a:solidFill>
                    <a:latin typeface="BIZ UDPGothic" panose="020B0400000000000000" pitchFamily="34" charset="-128"/>
                    <a:ea typeface="BIZ UDPGothic" panose="020B0400000000000000" pitchFamily="34" charset="-128"/>
                  </a:rPr>
                  <a:t>管理人が常駐する</a:t>
                </a:r>
                <a:br>
                  <a:rPr lang="en-US" altLang="ja-JP" sz="1350">
                    <a:solidFill>
                      <a:srgbClr val="FF0000"/>
                    </a:solidFill>
                    <a:latin typeface="BIZ UDPGothic" panose="020B0400000000000000" pitchFamily="34" charset="-128"/>
                    <a:ea typeface="BIZ UDPGothic" panose="020B0400000000000000" pitchFamily="34" charset="-128"/>
                  </a:rPr>
                </a:br>
                <a:r>
                  <a:rPr lang="ja-JP" altLang="en-US" sz="1350">
                    <a:solidFill>
                      <a:srgbClr val="FF0000"/>
                    </a:solidFill>
                    <a:latin typeface="BIZ UDPGothic" panose="020B0400000000000000" pitchFamily="34" charset="-128"/>
                    <a:ea typeface="BIZ UDPGothic" panose="020B0400000000000000" pitchFamily="34" charset="-128"/>
                  </a:rPr>
                  <a:t>パーキングに停める</a:t>
                </a:r>
              </a:p>
            </p:txBody>
          </p:sp>
          <p:sp>
            <p:nvSpPr>
              <p:cNvPr id="33" name="正方形/長方形 4">
                <a:extLst>
                  <a:ext uri="{FF2B5EF4-FFF2-40B4-BE49-F238E27FC236}">
                    <a16:creationId xmlns:a16="http://schemas.microsoft.com/office/drawing/2014/main" id="{25679429-CACE-8DF7-02F0-4CF93AE8E289}"/>
                  </a:ext>
                </a:extLst>
              </p:cNvPr>
              <p:cNvSpPr>
                <a:spLocks noChangeArrowheads="1"/>
              </p:cNvSpPr>
              <p:nvPr/>
            </p:nvSpPr>
            <p:spPr bwMode="auto">
              <a:xfrm>
                <a:off x="5565743" y="2242480"/>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ja-JP" altLang="en-US" sz="1350">
                    <a:latin typeface="BIZ UDPGothic" panose="020B0400000000000000" pitchFamily="34" charset="-128"/>
                    <a:ea typeface="BIZ UDPGothic" panose="020B0400000000000000" pitchFamily="34" charset="-128"/>
                  </a:rPr>
                  <a:t>鍵をかけ忘れないように</a:t>
                </a:r>
                <a:br>
                  <a:rPr lang="en-US" altLang="ja-JP" sz="1350">
                    <a:latin typeface="BIZ UDPGothic" panose="020B0400000000000000" pitchFamily="34" charset="-128"/>
                    <a:ea typeface="BIZ UDPGothic" panose="020B0400000000000000" pitchFamily="34" charset="-128"/>
                  </a:rPr>
                </a:br>
                <a:r>
                  <a:rPr lang="ja-JP" altLang="en-US" sz="1350">
                    <a:latin typeface="BIZ UDPGothic" panose="020B0400000000000000" pitchFamily="34" charset="-128"/>
                    <a:ea typeface="BIZ UDPGothic" panose="020B0400000000000000" pitchFamily="34" charset="-128"/>
                  </a:rPr>
                  <a:t>チェーンを首からかける</a:t>
                </a:r>
              </a:p>
            </p:txBody>
          </p:sp>
          <p:sp>
            <p:nvSpPr>
              <p:cNvPr id="34" name="正方形/長方形 4">
                <a:extLst>
                  <a:ext uri="{FF2B5EF4-FFF2-40B4-BE49-F238E27FC236}">
                    <a16:creationId xmlns:a16="http://schemas.microsoft.com/office/drawing/2014/main" id="{90A673C3-EE21-9429-7613-BDA70023522C}"/>
                  </a:ext>
                </a:extLst>
              </p:cNvPr>
              <p:cNvSpPr>
                <a:spLocks noChangeArrowheads="1"/>
              </p:cNvSpPr>
              <p:nvPr/>
            </p:nvSpPr>
            <p:spPr bwMode="auto">
              <a:xfrm>
                <a:off x="5565743" y="3275100"/>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r>
                  <a:rPr lang="ja-JP" altLang="en-US" sz="1350">
                    <a:latin typeface="BIZ UDPGothic" panose="020B0400000000000000" pitchFamily="34" charset="-128"/>
                    <a:ea typeface="BIZ UDPGothic" panose="020B0400000000000000" pitchFamily="34" charset="-128"/>
                  </a:rPr>
                  <a:t>鍵を装着する</a:t>
                </a:r>
                <a:endParaRPr lang="en-US" altLang="ja-JP" sz="1350">
                  <a:latin typeface="BIZ UDPGothic" panose="020B0400000000000000" pitchFamily="34" charset="-128"/>
                  <a:ea typeface="BIZ UDPGothic" panose="020B0400000000000000" pitchFamily="34" charset="-128"/>
                </a:endParaRPr>
              </a:p>
            </p:txBody>
          </p:sp>
          <p:cxnSp>
            <p:nvCxnSpPr>
              <p:cNvPr id="35" name="コネクタ: カギ線 34">
                <a:extLst>
                  <a:ext uri="{FF2B5EF4-FFF2-40B4-BE49-F238E27FC236}">
                    <a16:creationId xmlns:a16="http://schemas.microsoft.com/office/drawing/2014/main" id="{EE3BA858-D8C1-3FE6-9F5B-643C358811D5}"/>
                  </a:ext>
                </a:extLst>
              </p:cNvPr>
              <p:cNvCxnSpPr>
                <a:stCxn id="25" idx="3"/>
                <a:endCxn id="24" idx="1"/>
              </p:cNvCxnSpPr>
              <p:nvPr/>
            </p:nvCxnSpPr>
            <p:spPr>
              <a:xfrm flipV="1">
                <a:off x="2192838" y="1616514"/>
                <a:ext cx="484985" cy="103109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3B0D6F5C-DDFA-63A7-EC4B-5608A017FCD2}"/>
                  </a:ext>
                </a:extLst>
              </p:cNvPr>
              <p:cNvCxnSpPr>
                <a:cxnSpLocks/>
                <a:stCxn id="25" idx="3"/>
                <a:endCxn id="29" idx="1"/>
              </p:cNvCxnSpPr>
              <p:nvPr/>
            </p:nvCxnSpPr>
            <p:spPr>
              <a:xfrm>
                <a:off x="2192838" y="2647609"/>
                <a:ext cx="484985" cy="103414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24E27A79-95AF-40DB-E1B5-88BEF1E29A1E}"/>
                  </a:ext>
                </a:extLst>
              </p:cNvPr>
              <p:cNvCxnSpPr>
                <a:stCxn id="25" idx="3"/>
                <a:endCxn id="26" idx="1"/>
              </p:cNvCxnSpPr>
              <p:nvPr/>
            </p:nvCxnSpPr>
            <p:spPr>
              <a:xfrm>
                <a:off x="2192838" y="2647608"/>
                <a:ext cx="484985" cy="15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248FBBF-16AF-56F1-CF7D-16A603547FA0}"/>
                  </a:ext>
                </a:extLst>
              </p:cNvPr>
              <p:cNvCxnSpPr>
                <a:cxnSpLocks/>
                <a:stCxn id="24" idx="3"/>
                <a:endCxn id="32" idx="1"/>
              </p:cNvCxnSpPr>
              <p:nvPr/>
            </p:nvCxnSpPr>
            <p:spPr>
              <a:xfrm>
                <a:off x="5204847" y="1616511"/>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928C4130-D405-C90D-CF79-6314514C794D}"/>
                  </a:ext>
                </a:extLst>
              </p:cNvPr>
              <p:cNvCxnSpPr>
                <a:cxnSpLocks/>
                <a:stCxn id="26" idx="3"/>
                <a:endCxn id="33" idx="1"/>
              </p:cNvCxnSpPr>
              <p:nvPr/>
            </p:nvCxnSpPr>
            <p:spPr>
              <a:xfrm>
                <a:off x="5204847" y="2649131"/>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9C6024EF-F6CE-F0BC-1F8C-1A16B9C57B44}"/>
                  </a:ext>
                </a:extLst>
              </p:cNvPr>
              <p:cNvCxnSpPr>
                <a:cxnSpLocks/>
                <a:stCxn id="29" idx="3"/>
                <a:endCxn id="34" idx="1"/>
              </p:cNvCxnSpPr>
              <p:nvPr/>
            </p:nvCxnSpPr>
            <p:spPr>
              <a:xfrm>
                <a:off x="5204847" y="3681750"/>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テキスト ボックス 5">
                <a:extLst>
                  <a:ext uri="{FF2B5EF4-FFF2-40B4-BE49-F238E27FC236}">
                    <a16:creationId xmlns:a16="http://schemas.microsoft.com/office/drawing/2014/main" id="{40CE25A8-F1B0-2EDF-9066-2480D2036D70}"/>
                  </a:ext>
                </a:extLst>
              </p:cNvPr>
              <p:cNvSpPr txBox="1"/>
              <p:nvPr/>
            </p:nvSpPr>
            <p:spPr>
              <a:xfrm>
                <a:off x="998588" y="3514778"/>
                <a:ext cx="1189908" cy="484748"/>
              </a:xfrm>
              <a:prstGeom prst="rect">
                <a:avLst/>
              </a:prstGeom>
              <a:noFill/>
            </p:spPr>
            <p:txBody>
              <a:bodyPr wrap="square" lIns="68580" tIns="34290" rIns="68580" bIns="34290" rtlCol="0" anchor="t">
                <a:spAutoFit/>
              </a:bodyPr>
              <a:lstStyle/>
              <a:p>
                <a:r>
                  <a:rPr lang="ja-JP" altLang="en-US" sz="900" b="1">
                    <a:latin typeface="BIZ UDPGothic" panose="020B0400000000000000" pitchFamily="34" charset="-128"/>
                    <a:ea typeface="BIZ UDPGothic" panose="020B0400000000000000" pitchFamily="34" charset="-128"/>
                  </a:rPr>
                  <a:t>＊現象や観察された</a:t>
                </a:r>
                <a:br>
                  <a:rPr lang="ja-JP" altLang="en-US" sz="900" b="1">
                    <a:latin typeface="BIZ UDPGothic" panose="020B0400000000000000" pitchFamily="34" charset="-128"/>
                    <a:ea typeface="BIZ UDPGothic" panose="020B0400000000000000" pitchFamily="34" charset="-128"/>
                  </a:rPr>
                </a:br>
                <a:r>
                  <a:rPr lang="ja-JP" altLang="en-US" sz="900" b="1">
                    <a:latin typeface="BIZ UDPGothic" panose="020B0400000000000000" pitchFamily="34" charset="-128"/>
                    <a:ea typeface="BIZ UDPGothic" panose="020B0400000000000000" pitchFamily="34" charset="-128"/>
                  </a:rPr>
                  <a:t>　事実であり、論点</a:t>
                </a:r>
                <a:br>
                  <a:rPr lang="ja-JP" altLang="en-US" sz="900" b="1">
                    <a:latin typeface="BIZ UDPGothic" panose="020B0400000000000000" pitchFamily="34" charset="-128"/>
                    <a:ea typeface="BIZ UDPGothic" panose="020B0400000000000000" pitchFamily="34" charset="-128"/>
                    <a:cs typeface="Calibri"/>
                  </a:rPr>
                </a:br>
                <a:r>
                  <a:rPr lang="ja-JP" altLang="en-US" sz="900" b="1">
                    <a:latin typeface="BIZ UDPGothic" panose="020B0400000000000000" pitchFamily="34" charset="-128"/>
                    <a:ea typeface="BIZ UDPGothic" panose="020B0400000000000000" pitchFamily="34" charset="-128"/>
                  </a:rPr>
                  <a:t>　ではない</a:t>
                </a:r>
                <a:endParaRPr lang="ja-JP" altLang="en-US" sz="900" b="1">
                  <a:latin typeface="BIZ UDPGothic" panose="020B0400000000000000" pitchFamily="34" charset="-128"/>
                  <a:ea typeface="BIZ UDPGothic" panose="020B0400000000000000" pitchFamily="34" charset="-128"/>
                  <a:cs typeface="Calibri"/>
                </a:endParaRPr>
              </a:p>
            </p:txBody>
          </p:sp>
        </p:grpSp>
        <p:sp>
          <p:nvSpPr>
            <p:cNvPr id="46" name="テキスト ボックス 45">
              <a:extLst>
                <a:ext uri="{FF2B5EF4-FFF2-40B4-BE49-F238E27FC236}">
                  <a16:creationId xmlns:a16="http://schemas.microsoft.com/office/drawing/2014/main" id="{16EA181A-B8AE-FF0F-0333-37DBBA2FC28D}"/>
                </a:ext>
              </a:extLst>
            </p:cNvPr>
            <p:cNvSpPr txBox="1"/>
            <p:nvPr/>
          </p:nvSpPr>
          <p:spPr>
            <a:xfrm>
              <a:off x="1079242" y="985376"/>
              <a:ext cx="7052991" cy="284693"/>
            </a:xfrm>
            <a:prstGeom prst="rect">
              <a:avLst/>
            </a:prstGeom>
            <a:noFill/>
          </p:spPr>
          <p:txBody>
            <a:bodyPr wrap="square" lIns="68580" tIns="34290" rIns="68580" bIns="34290" rtlCol="0" anchor="t">
              <a:spAutoFit/>
            </a:bodyPr>
            <a:lstStyle/>
            <a:p>
              <a:pPr algn="ctr"/>
              <a:r>
                <a:rPr lang="ja-JP" altLang="en-US" sz="1400" b="1">
                  <a:latin typeface="BIZ UDPGothic" panose="020B0400000000000000" pitchFamily="34" charset="-128"/>
                  <a:ea typeface="BIZ UDPGothic" panose="020B0400000000000000" pitchFamily="34" charset="-128"/>
                </a:rPr>
                <a:t>自転車がよく盗まれてしまうことについてどのような原因が考えられるか？</a:t>
              </a:r>
              <a:r>
                <a:rPr kumimoji="0" lang="en-US" altLang="ja-JP" sz="140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 </a:t>
              </a:r>
              <a:endParaRPr lang="en-US" altLang="ja-JP" sz="1400" b="1">
                <a:latin typeface="BIZ UDPGothic" panose="020B0400000000000000" pitchFamily="34" charset="-128"/>
                <a:ea typeface="BIZ UDPGothic" panose="020B0400000000000000" pitchFamily="34" charset="-128"/>
              </a:endParaRPr>
            </a:p>
          </p:txBody>
        </p:sp>
      </p:grpSp>
      <p:sp>
        <p:nvSpPr>
          <p:cNvPr id="77" name="コンテンツ プレースホルダー 3">
            <a:extLst>
              <a:ext uri="{FF2B5EF4-FFF2-40B4-BE49-F238E27FC236}">
                <a16:creationId xmlns:a16="http://schemas.microsoft.com/office/drawing/2014/main" id="{ACC500E9-A8C0-4C45-A249-2BF551447ADF}"/>
              </a:ext>
            </a:extLst>
          </p:cNvPr>
          <p:cNvSpPr>
            <a:spLocks noGrp="1"/>
          </p:cNvSpPr>
          <p:nvPr>
            <p:ph idx="13"/>
          </p:nvPr>
        </p:nvSpPr>
        <p:spPr>
          <a:xfrm>
            <a:off x="141600" y="537124"/>
            <a:ext cx="8851900" cy="499233"/>
          </a:xfrm>
        </p:spPr>
        <p:txBody>
          <a:bodyPr/>
          <a:lstStyle/>
          <a:p>
            <a:r>
              <a:rPr lang="ja-JP" altLang="en-US" sz="1050">
                <a:latin typeface="BIZ UDPGothic" panose="020B0400000000000000" pitchFamily="34" charset="-128"/>
                <a:ea typeface="BIZ UDPGothic" panose="020B0400000000000000" pitchFamily="34" charset="-128"/>
              </a:rPr>
              <a:t>本フレームワークから</a:t>
            </a:r>
            <a:r>
              <a:rPr lang="ja-JP" altLang="en-US" sz="1050" b="1">
                <a:solidFill>
                  <a:srgbClr val="FF0000"/>
                </a:solidFill>
                <a:latin typeface="BIZ UDPGothic" panose="020B0400000000000000" pitchFamily="34" charset="-128"/>
                <a:ea typeface="BIZ UDPGothic" panose="020B0400000000000000" pitchFamily="34" charset="-128"/>
              </a:rPr>
              <a:t>真因課題がどこにありそうか</a:t>
            </a:r>
            <a:r>
              <a:rPr lang="ja-JP" altLang="en-US" sz="1050">
                <a:latin typeface="BIZ UDPGothic" panose="020B0400000000000000" pitchFamily="34" charset="-128"/>
                <a:ea typeface="BIZ UDPGothic" panose="020B0400000000000000" pitchFamily="34" charset="-128"/>
              </a:rPr>
              <a:t>検討しましょう。複数の課題が検討できますが、</a:t>
            </a:r>
            <a:r>
              <a:rPr lang="ja-JP" altLang="en-US" sz="1050" b="1">
                <a:solidFill>
                  <a:srgbClr val="FF0000"/>
                </a:solidFill>
                <a:latin typeface="BIZ UDPGothic" panose="020B0400000000000000" pitchFamily="34" charset="-128"/>
                <a:ea typeface="BIZ UDPGothic" panose="020B0400000000000000" pitchFamily="34" charset="-128"/>
              </a:rPr>
              <a:t>そもそも「</a:t>
            </a:r>
            <a:r>
              <a:rPr lang="en-US" altLang="ja-JP" sz="1050" b="1">
                <a:solidFill>
                  <a:srgbClr val="FF0000"/>
                </a:solidFill>
                <a:latin typeface="BIZ UDPGothic" panose="020B0400000000000000" pitchFamily="34" charset="-128"/>
                <a:ea typeface="BIZ UDPGothic" panose="020B0400000000000000" pitchFamily="34" charset="-128"/>
              </a:rPr>
              <a:t>①</a:t>
            </a:r>
            <a:r>
              <a:rPr lang="ja-JP" altLang="en-US" sz="1050" b="1">
                <a:solidFill>
                  <a:srgbClr val="FF0000"/>
                </a:solidFill>
                <a:latin typeface="BIZ UDPGothic" panose="020B0400000000000000" pitchFamily="34" charset="-128"/>
                <a:ea typeface="BIZ UDPGothic" panose="020B0400000000000000" pitchFamily="34" charset="-128"/>
              </a:rPr>
              <a:t>保管場所が良くない」</a:t>
            </a:r>
            <a:r>
              <a:rPr lang="ja-JP" altLang="en-US" sz="1050">
                <a:latin typeface="BIZ UDPGothic" panose="020B0400000000000000" pitchFamily="34" charset="-128"/>
                <a:ea typeface="BIZ UDPGothic" panose="020B0400000000000000" pitchFamily="34" charset="-128"/>
              </a:rPr>
              <a:t>場合、頑丈な鍵をかける等の対策を試みても盗難を防げないのではないか。そうすると、</a:t>
            </a:r>
            <a:r>
              <a:rPr lang="en-US" altLang="ja-JP" sz="1050">
                <a:latin typeface="BIZ UDPGothic" panose="020B0400000000000000" pitchFamily="34" charset="-128"/>
                <a:ea typeface="BIZ UDPGothic" panose="020B0400000000000000" pitchFamily="34" charset="-128"/>
              </a:rPr>
              <a:t>①〜③</a:t>
            </a:r>
            <a:r>
              <a:rPr lang="ja-JP" altLang="en-US" sz="1050">
                <a:latin typeface="BIZ UDPGothic" panose="020B0400000000000000" pitchFamily="34" charset="-128"/>
                <a:ea typeface="BIZ UDPGothic" panose="020B0400000000000000" pitchFamily="34" charset="-128"/>
              </a:rPr>
              <a:t>の課題のうち「真因課題は</a:t>
            </a:r>
            <a:r>
              <a:rPr lang="en-US" altLang="ja-JP" sz="1050">
                <a:latin typeface="BIZ UDPGothic" panose="020B0400000000000000" pitchFamily="34" charset="-128"/>
                <a:ea typeface="BIZ UDPGothic" panose="020B0400000000000000" pitchFamily="34" charset="-128"/>
              </a:rPr>
              <a:t>①</a:t>
            </a:r>
            <a:r>
              <a:rPr lang="ja-JP" altLang="en-US" sz="1050">
                <a:latin typeface="BIZ UDPGothic" panose="020B0400000000000000" pitchFamily="34" charset="-128"/>
                <a:ea typeface="BIZ UDPGothic" panose="020B0400000000000000" pitchFamily="34" charset="-128"/>
              </a:rPr>
              <a:t>ではないか？」と考えられないか。</a:t>
            </a:r>
          </a:p>
        </p:txBody>
      </p:sp>
    </p:spTree>
    <p:extLst>
      <p:ext uri="{BB962C8B-B14F-4D97-AF65-F5344CB8AC3E}">
        <p14:creationId xmlns:p14="http://schemas.microsoft.com/office/powerpoint/2010/main" val="176434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B16F8-C55C-FC68-0E1F-5C86B4FC4B00}"/>
            </a:ext>
          </a:extLst>
        </p:cNvPr>
        <p:cNvGrpSpPr/>
        <p:nvPr/>
      </p:nvGrpSpPr>
      <p:grpSpPr>
        <a:xfrm>
          <a:off x="0" y="0"/>
          <a:ext cx="0" cy="0"/>
          <a:chOff x="0" y="0"/>
          <a:chExt cx="0" cy="0"/>
        </a:xfrm>
      </p:grpSpPr>
      <p:sp>
        <p:nvSpPr>
          <p:cNvPr id="4" name="字幕 3">
            <a:extLst>
              <a:ext uri="{FF2B5EF4-FFF2-40B4-BE49-F238E27FC236}">
                <a16:creationId xmlns:a16="http://schemas.microsoft.com/office/drawing/2014/main" id="{AE172B0E-EFB8-F4CF-AFF1-5B3A8CE87BEE}"/>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真因課題を検討するフレームワーク</a:t>
            </a:r>
            <a:endParaRPr lang="en-US" altLang="ja-JP" kern="0" dirty="0">
              <a:latin typeface="BIZ UDPGothic" panose="020B0400000000000000" pitchFamily="34" charset="-128"/>
              <a:ea typeface="BIZ UDPGothic" panose="020B0400000000000000" pitchFamily="34" charset="-128"/>
              <a:cs typeface="Arial" pitchFamily="34" charset="0"/>
            </a:endParaRPr>
          </a:p>
        </p:txBody>
      </p:sp>
      <p:sp>
        <p:nvSpPr>
          <p:cNvPr id="45" name="スライド番号プレースホルダー 1">
            <a:extLst>
              <a:ext uri="{FF2B5EF4-FFF2-40B4-BE49-F238E27FC236}">
                <a16:creationId xmlns:a16="http://schemas.microsoft.com/office/drawing/2014/main" id="{C1FE83B1-F3BD-C002-5FEC-EB49D8C2A56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latin typeface="BIZ UDPGothic" panose="020B0400000000000000" pitchFamily="34" charset="-128"/>
                <a:ea typeface="BIZ UDPGothic" panose="020B0400000000000000" pitchFamily="34" charset="-128"/>
              </a:rPr>
              <a:t>2</a:t>
            </a:fld>
            <a:endParaRPr kumimoji="1" lang="ja-JP" altLang="en-US">
              <a:latin typeface="BIZ UDPGothic" panose="020B0400000000000000" pitchFamily="34" charset="-128"/>
              <a:ea typeface="BIZ UDPGothic" panose="020B0400000000000000" pitchFamily="34" charset="-128"/>
            </a:endParaRPr>
          </a:p>
        </p:txBody>
      </p:sp>
      <p:grpSp>
        <p:nvGrpSpPr>
          <p:cNvPr id="5" name="グループ化 4">
            <a:extLst>
              <a:ext uri="{FF2B5EF4-FFF2-40B4-BE49-F238E27FC236}">
                <a16:creationId xmlns:a16="http://schemas.microsoft.com/office/drawing/2014/main" id="{989BFE80-C5E4-1898-D7A9-E2BE1825BC40}"/>
              </a:ext>
            </a:extLst>
          </p:cNvPr>
          <p:cNvGrpSpPr/>
          <p:nvPr/>
        </p:nvGrpSpPr>
        <p:grpSpPr>
          <a:xfrm>
            <a:off x="1011767" y="1589596"/>
            <a:ext cx="7120466" cy="3210819"/>
            <a:chOff x="972299" y="1040650"/>
            <a:chExt cx="7120466" cy="3210819"/>
          </a:xfrm>
        </p:grpSpPr>
        <p:sp>
          <p:nvSpPr>
            <p:cNvPr id="18" name="テキスト ボックス 17">
              <a:extLst>
                <a:ext uri="{FF2B5EF4-FFF2-40B4-BE49-F238E27FC236}">
                  <a16:creationId xmlns:a16="http://schemas.microsoft.com/office/drawing/2014/main" id="{1CD5F8A8-136D-A6A3-2AA1-B9DA7E5F2E49}"/>
                </a:ext>
              </a:extLst>
            </p:cNvPr>
            <p:cNvSpPr txBox="1"/>
            <p:nvPr/>
          </p:nvSpPr>
          <p:spPr>
            <a:xfrm>
              <a:off x="972299" y="1040650"/>
              <a:ext cx="128801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問題</a:t>
              </a:r>
              <a:endParaRPr lang="en-US" altLang="ja-JP" sz="1350" b="1" u="sng">
                <a:latin typeface="BIZ UDPGothic" panose="020B0400000000000000" pitchFamily="34" charset="-128"/>
                <a:ea typeface="BIZ UDPGothic" panose="020B0400000000000000" pitchFamily="34" charset="-128"/>
                <a:cs typeface="Calibri"/>
              </a:endParaRPr>
            </a:p>
          </p:txBody>
        </p:sp>
        <p:sp>
          <p:nvSpPr>
            <p:cNvPr id="20" name="テキスト ボックス 19">
              <a:extLst>
                <a:ext uri="{FF2B5EF4-FFF2-40B4-BE49-F238E27FC236}">
                  <a16:creationId xmlns:a16="http://schemas.microsoft.com/office/drawing/2014/main" id="{56A115EC-9E9A-E382-3147-C3287C20DFCA}"/>
                </a:ext>
              </a:extLst>
            </p:cNvPr>
            <p:cNvSpPr txBox="1"/>
            <p:nvPr/>
          </p:nvSpPr>
          <p:spPr>
            <a:xfrm>
              <a:off x="3297328" y="1045789"/>
              <a:ext cx="128801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課題</a:t>
              </a:r>
              <a:r>
                <a:rPr lang="en-US" altLang="ja-JP" sz="1350" b="1" u="sng">
                  <a:latin typeface="BIZ UDPGothic" panose="020B0400000000000000" pitchFamily="34" charset="-128"/>
                  <a:ea typeface="BIZ UDPGothic" panose="020B0400000000000000" pitchFamily="34" charset="-128"/>
                </a:rPr>
                <a:t>(</a:t>
              </a:r>
              <a:r>
                <a:rPr lang="ja-JP" altLang="en-US" sz="1350" b="1" u="sng">
                  <a:latin typeface="BIZ UDPGothic" panose="020B0400000000000000" pitchFamily="34" charset="-128"/>
                  <a:ea typeface="BIZ UDPGothic" panose="020B0400000000000000" pitchFamily="34" charset="-128"/>
                </a:rPr>
                <a:t>仮説</a:t>
              </a:r>
              <a:r>
                <a:rPr lang="en-US" altLang="ja-JP" sz="1350" b="1" u="sng">
                  <a:latin typeface="BIZ UDPGothic" panose="020B0400000000000000" pitchFamily="34" charset="-128"/>
                  <a:ea typeface="BIZ UDPGothic" panose="020B0400000000000000" pitchFamily="34" charset="-128"/>
                </a:rPr>
                <a:t>)</a:t>
              </a:r>
            </a:p>
          </p:txBody>
        </p:sp>
        <p:sp>
          <p:nvSpPr>
            <p:cNvPr id="21" name="テキスト ボックス 20">
              <a:extLst>
                <a:ext uri="{FF2B5EF4-FFF2-40B4-BE49-F238E27FC236}">
                  <a16:creationId xmlns:a16="http://schemas.microsoft.com/office/drawing/2014/main" id="{25814892-89E4-25BC-6714-E372683C5731}"/>
                </a:ext>
              </a:extLst>
            </p:cNvPr>
            <p:cNvSpPr txBox="1"/>
            <p:nvPr/>
          </p:nvSpPr>
          <p:spPr>
            <a:xfrm>
              <a:off x="5798334" y="1061374"/>
              <a:ext cx="2061840" cy="276999"/>
            </a:xfrm>
            <a:prstGeom prst="rect">
              <a:avLst/>
            </a:prstGeom>
            <a:noFill/>
          </p:spPr>
          <p:txBody>
            <a:bodyPr wrap="square" lIns="68580" tIns="34290" rIns="68580" bIns="34290" rtlCol="0" anchor="t">
              <a:spAutoFit/>
            </a:bodyPr>
            <a:lstStyle/>
            <a:p>
              <a:pPr algn="ctr"/>
              <a:r>
                <a:rPr lang="ja-JP" altLang="en-US" sz="1350" b="1" u="sng">
                  <a:latin typeface="BIZ UDPGothic" panose="020B0400000000000000" pitchFamily="34" charset="-128"/>
                  <a:ea typeface="BIZ UDPGothic" panose="020B0400000000000000" pitchFamily="34" charset="-128"/>
                </a:rPr>
                <a:t>打ち手</a:t>
              </a:r>
              <a:r>
                <a:rPr lang="en-US" altLang="ja-JP" sz="1350" b="1" u="sng">
                  <a:latin typeface="BIZ UDPGothic" panose="020B0400000000000000" pitchFamily="34" charset="-128"/>
                  <a:ea typeface="BIZ UDPGothic" panose="020B0400000000000000" pitchFamily="34" charset="-128"/>
                </a:rPr>
                <a:t>(</a:t>
              </a:r>
              <a:r>
                <a:rPr lang="ja-JP" altLang="en-US" sz="1350" b="1" u="sng">
                  <a:latin typeface="BIZ UDPGothic" panose="020B0400000000000000" pitchFamily="34" charset="-128"/>
                  <a:ea typeface="BIZ UDPGothic" panose="020B0400000000000000" pitchFamily="34" charset="-128"/>
                </a:rPr>
                <a:t>解決策</a:t>
              </a:r>
              <a:r>
                <a:rPr lang="en-US" altLang="ja-JP" sz="1350" b="1" u="sng">
                  <a:latin typeface="BIZ UDPGothic" panose="020B0400000000000000" pitchFamily="34" charset="-128"/>
                  <a:ea typeface="BIZ UDPGothic" panose="020B0400000000000000" pitchFamily="34" charset="-128"/>
                </a:rPr>
                <a:t>)</a:t>
              </a:r>
            </a:p>
          </p:txBody>
        </p:sp>
        <p:sp>
          <p:nvSpPr>
            <p:cNvPr id="24" name="正方形/長方形 4">
              <a:extLst>
                <a:ext uri="{FF2B5EF4-FFF2-40B4-BE49-F238E27FC236}">
                  <a16:creationId xmlns:a16="http://schemas.microsoft.com/office/drawing/2014/main" id="{5B95267C-0DB0-A8CA-46F2-CC5C3BCC3793}"/>
                </a:ext>
              </a:extLst>
            </p:cNvPr>
            <p:cNvSpPr>
              <a:spLocks noChangeArrowheads="1"/>
            </p:cNvSpPr>
            <p:nvPr/>
          </p:nvSpPr>
          <p:spPr bwMode="auto">
            <a:xfrm>
              <a:off x="2677822" y="1372925"/>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1350">
                <a:solidFill>
                  <a:srgbClr val="000000"/>
                </a:solidFill>
                <a:latin typeface="BIZ UDPGothic" panose="020B0400000000000000" pitchFamily="34" charset="-128"/>
                <a:ea typeface="BIZ UDPGothic" panose="020B0400000000000000" pitchFamily="34" charset="-128"/>
              </a:endParaRPr>
            </a:p>
          </p:txBody>
        </p:sp>
        <p:sp>
          <p:nvSpPr>
            <p:cNvPr id="25" name="正方形/長方形 7">
              <a:extLst>
                <a:ext uri="{FF2B5EF4-FFF2-40B4-BE49-F238E27FC236}">
                  <a16:creationId xmlns:a16="http://schemas.microsoft.com/office/drawing/2014/main" id="{00FF0BB6-E791-143D-A14E-A81A71EB1C9F}"/>
                </a:ext>
              </a:extLst>
            </p:cNvPr>
            <p:cNvSpPr>
              <a:spLocks noChangeArrowheads="1"/>
            </p:cNvSpPr>
            <p:nvPr/>
          </p:nvSpPr>
          <p:spPr bwMode="auto">
            <a:xfrm>
              <a:off x="1039771" y="1369873"/>
              <a:ext cx="1153067" cy="2881593"/>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1500">
                <a:solidFill>
                  <a:srgbClr val="000000"/>
                </a:solidFill>
                <a:latin typeface="BIZ UDPGothic" panose="020B0400000000000000" pitchFamily="34" charset="-128"/>
                <a:ea typeface="BIZ UDPGothic" panose="020B0400000000000000" pitchFamily="34" charset="-128"/>
              </a:endParaRPr>
            </a:p>
          </p:txBody>
        </p:sp>
        <p:sp>
          <p:nvSpPr>
            <p:cNvPr id="26" name="正方形/長方形 4">
              <a:extLst>
                <a:ext uri="{FF2B5EF4-FFF2-40B4-BE49-F238E27FC236}">
                  <a16:creationId xmlns:a16="http://schemas.microsoft.com/office/drawing/2014/main" id="{682FE1DE-D253-0A43-6083-B88AEEFAC408}"/>
                </a:ext>
              </a:extLst>
            </p:cNvPr>
            <p:cNvSpPr>
              <a:spLocks noChangeArrowheads="1"/>
            </p:cNvSpPr>
            <p:nvPr/>
          </p:nvSpPr>
          <p:spPr bwMode="auto">
            <a:xfrm>
              <a:off x="2677822" y="2405544"/>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1350">
                <a:solidFill>
                  <a:srgbClr val="000000"/>
                </a:solidFill>
                <a:latin typeface="BIZ UDPGothic" panose="020B0400000000000000" pitchFamily="34" charset="-128"/>
                <a:ea typeface="BIZ UDPGothic" panose="020B0400000000000000" pitchFamily="34" charset="-128"/>
              </a:endParaRPr>
            </a:p>
          </p:txBody>
        </p:sp>
        <p:sp>
          <p:nvSpPr>
            <p:cNvPr id="29" name="正方形/長方形 4">
              <a:extLst>
                <a:ext uri="{FF2B5EF4-FFF2-40B4-BE49-F238E27FC236}">
                  <a16:creationId xmlns:a16="http://schemas.microsoft.com/office/drawing/2014/main" id="{4D8126C5-E4E6-1DAD-1023-09EB93C35EE2}"/>
                </a:ext>
              </a:extLst>
            </p:cNvPr>
            <p:cNvSpPr>
              <a:spLocks noChangeArrowheads="1"/>
            </p:cNvSpPr>
            <p:nvPr/>
          </p:nvSpPr>
          <p:spPr bwMode="auto">
            <a:xfrm>
              <a:off x="2677822" y="3438164"/>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en-US" altLang="ja-JP" sz="1350">
                <a:solidFill>
                  <a:srgbClr val="000000"/>
                </a:solidFill>
                <a:latin typeface="BIZ UDPGothic" panose="020B0400000000000000" pitchFamily="34" charset="-128"/>
                <a:ea typeface="BIZ UDPGothic" panose="020B0400000000000000" pitchFamily="34" charset="-128"/>
              </a:endParaRPr>
            </a:p>
          </p:txBody>
        </p:sp>
        <p:sp>
          <p:nvSpPr>
            <p:cNvPr id="32" name="正方形/長方形 4">
              <a:extLst>
                <a:ext uri="{FF2B5EF4-FFF2-40B4-BE49-F238E27FC236}">
                  <a16:creationId xmlns:a16="http://schemas.microsoft.com/office/drawing/2014/main" id="{D0DEC046-86DA-7815-B090-6DEC37F2F3E3}"/>
                </a:ext>
              </a:extLst>
            </p:cNvPr>
            <p:cNvSpPr>
              <a:spLocks noChangeArrowheads="1"/>
            </p:cNvSpPr>
            <p:nvPr/>
          </p:nvSpPr>
          <p:spPr bwMode="auto">
            <a:xfrm>
              <a:off x="5565743" y="1372925"/>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1350">
                <a:solidFill>
                  <a:srgbClr val="FF0000"/>
                </a:solidFill>
                <a:latin typeface="BIZ UDPGothic" panose="020B0400000000000000" pitchFamily="34" charset="-128"/>
                <a:ea typeface="BIZ UDPGothic" panose="020B0400000000000000" pitchFamily="34" charset="-128"/>
              </a:endParaRPr>
            </a:p>
          </p:txBody>
        </p:sp>
        <p:sp>
          <p:nvSpPr>
            <p:cNvPr id="33" name="正方形/長方形 4">
              <a:extLst>
                <a:ext uri="{FF2B5EF4-FFF2-40B4-BE49-F238E27FC236}">
                  <a16:creationId xmlns:a16="http://schemas.microsoft.com/office/drawing/2014/main" id="{9583E1FF-3D6D-2E6F-79DA-A6FC5166A8F1}"/>
                </a:ext>
              </a:extLst>
            </p:cNvPr>
            <p:cNvSpPr>
              <a:spLocks noChangeArrowheads="1"/>
            </p:cNvSpPr>
            <p:nvPr/>
          </p:nvSpPr>
          <p:spPr bwMode="auto">
            <a:xfrm>
              <a:off x="5565743" y="2405544"/>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ja-JP" altLang="en-US" sz="1350">
                <a:solidFill>
                  <a:srgbClr val="FF0000"/>
                </a:solidFill>
                <a:latin typeface="BIZ UDPGothic" panose="020B0400000000000000" pitchFamily="34" charset="-128"/>
                <a:ea typeface="BIZ UDPGothic" panose="020B0400000000000000" pitchFamily="34" charset="-128"/>
              </a:endParaRPr>
            </a:p>
          </p:txBody>
        </p:sp>
        <p:sp>
          <p:nvSpPr>
            <p:cNvPr id="34" name="正方形/長方形 4">
              <a:extLst>
                <a:ext uri="{FF2B5EF4-FFF2-40B4-BE49-F238E27FC236}">
                  <a16:creationId xmlns:a16="http://schemas.microsoft.com/office/drawing/2014/main" id="{CA15AC91-6A69-F877-1A0E-1E46159FC0C0}"/>
                </a:ext>
              </a:extLst>
            </p:cNvPr>
            <p:cNvSpPr>
              <a:spLocks noChangeArrowheads="1"/>
            </p:cNvSpPr>
            <p:nvPr/>
          </p:nvSpPr>
          <p:spPr bwMode="auto">
            <a:xfrm>
              <a:off x="5565743" y="3438164"/>
              <a:ext cx="2527022" cy="813305"/>
            </a:xfrm>
            <a:prstGeom prst="rect">
              <a:avLst/>
            </a:prstGeom>
            <a:solidFill>
              <a:srgbClr val="F2F2F2"/>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defTabSz="685800" fontAlgn="base">
                <a:spcAft>
                  <a:spcPct val="0"/>
                </a:spcAft>
                <a:buNone/>
                <a:defRPr/>
              </a:pPr>
              <a:endParaRPr lang="en-US" altLang="ja-JP" sz="1350">
                <a:solidFill>
                  <a:srgbClr val="FF0000"/>
                </a:solidFill>
                <a:latin typeface="BIZ UDPGothic" panose="020B0400000000000000" pitchFamily="34" charset="-128"/>
                <a:ea typeface="BIZ UDPGothic" panose="020B0400000000000000" pitchFamily="34" charset="-128"/>
              </a:endParaRPr>
            </a:p>
          </p:txBody>
        </p:sp>
        <p:cxnSp>
          <p:nvCxnSpPr>
            <p:cNvPr id="35" name="コネクタ: カギ線 34">
              <a:extLst>
                <a:ext uri="{FF2B5EF4-FFF2-40B4-BE49-F238E27FC236}">
                  <a16:creationId xmlns:a16="http://schemas.microsoft.com/office/drawing/2014/main" id="{6F80D439-7E53-8DA6-C1D6-020899161482}"/>
                </a:ext>
              </a:extLst>
            </p:cNvPr>
            <p:cNvCxnSpPr>
              <a:stCxn id="25" idx="3"/>
              <a:endCxn id="24" idx="1"/>
            </p:cNvCxnSpPr>
            <p:nvPr/>
          </p:nvCxnSpPr>
          <p:spPr>
            <a:xfrm flipV="1">
              <a:off x="2192838" y="1779578"/>
              <a:ext cx="484984" cy="103109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CACC3FBF-FB9A-4A55-AA52-D4379D765653}"/>
                </a:ext>
              </a:extLst>
            </p:cNvPr>
            <p:cNvCxnSpPr>
              <a:cxnSpLocks/>
              <a:stCxn id="25" idx="3"/>
              <a:endCxn id="29" idx="1"/>
            </p:cNvCxnSpPr>
            <p:nvPr/>
          </p:nvCxnSpPr>
          <p:spPr>
            <a:xfrm>
              <a:off x="2192838" y="2810670"/>
              <a:ext cx="484984" cy="103414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CCBAB8DE-C4AB-547C-9DE2-BD4AE6E2104A}"/>
                </a:ext>
              </a:extLst>
            </p:cNvPr>
            <p:cNvCxnSpPr>
              <a:stCxn id="25" idx="3"/>
              <a:endCxn id="26" idx="1"/>
            </p:cNvCxnSpPr>
            <p:nvPr/>
          </p:nvCxnSpPr>
          <p:spPr>
            <a:xfrm>
              <a:off x="2192838" y="2810670"/>
              <a:ext cx="484984" cy="15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2F489D6-34B4-C72F-2322-F15A6D530121}"/>
                </a:ext>
              </a:extLst>
            </p:cNvPr>
            <p:cNvCxnSpPr>
              <a:cxnSpLocks/>
              <a:stCxn id="24" idx="3"/>
              <a:endCxn id="32" idx="1"/>
            </p:cNvCxnSpPr>
            <p:nvPr/>
          </p:nvCxnSpPr>
          <p:spPr>
            <a:xfrm>
              <a:off x="5204847" y="1779575"/>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67D6414C-E594-F3DB-5700-F50BA89631D2}"/>
                </a:ext>
              </a:extLst>
            </p:cNvPr>
            <p:cNvCxnSpPr>
              <a:cxnSpLocks/>
              <a:stCxn id="26" idx="3"/>
              <a:endCxn id="33" idx="1"/>
            </p:cNvCxnSpPr>
            <p:nvPr/>
          </p:nvCxnSpPr>
          <p:spPr>
            <a:xfrm>
              <a:off x="5204847" y="2812195"/>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9BDABA54-07CD-2D76-8BF8-B137D9B8ED0A}"/>
                </a:ext>
              </a:extLst>
            </p:cNvPr>
            <p:cNvCxnSpPr>
              <a:cxnSpLocks/>
              <a:stCxn id="29" idx="3"/>
              <a:endCxn id="34" idx="1"/>
            </p:cNvCxnSpPr>
            <p:nvPr/>
          </p:nvCxnSpPr>
          <p:spPr>
            <a:xfrm>
              <a:off x="5204847" y="3844814"/>
              <a:ext cx="3608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コンテンツ プレースホルダー 3">
            <a:extLst>
              <a:ext uri="{FF2B5EF4-FFF2-40B4-BE49-F238E27FC236}">
                <a16:creationId xmlns:a16="http://schemas.microsoft.com/office/drawing/2014/main" id="{B5244F6F-1E2C-C195-1E96-493B2C8EB1D7}"/>
              </a:ext>
            </a:extLst>
          </p:cNvPr>
          <p:cNvSpPr>
            <a:spLocks noGrp="1"/>
          </p:cNvSpPr>
          <p:nvPr>
            <p:ph idx="13"/>
          </p:nvPr>
        </p:nvSpPr>
        <p:spPr>
          <a:xfrm>
            <a:off x="141600" y="537124"/>
            <a:ext cx="8851900" cy="499233"/>
          </a:xfrm>
        </p:spPr>
        <p:txBody>
          <a:bodyPr/>
          <a:lstStyle/>
          <a:p>
            <a:r>
              <a:rPr lang="ja-JP" altLang="en-US" sz="1050">
                <a:latin typeface="BIZ UDPGothic" panose="020B0400000000000000" pitchFamily="34" charset="-128"/>
                <a:ea typeface="BIZ UDPGothic" panose="020B0400000000000000" pitchFamily="34" charset="-128"/>
              </a:rPr>
              <a:t>「◯◯という</a:t>
            </a:r>
            <a:r>
              <a:rPr lang="ja-JP" altLang="en-US" sz="1050" b="1">
                <a:solidFill>
                  <a:srgbClr val="FF0000"/>
                </a:solidFill>
                <a:latin typeface="BIZ UDPGothic" panose="020B0400000000000000" pitchFamily="34" charset="-128"/>
                <a:ea typeface="BIZ UDPGothic" panose="020B0400000000000000" pitchFamily="34" charset="-128"/>
              </a:rPr>
              <a:t>問題</a:t>
            </a:r>
            <a:r>
              <a:rPr lang="ja-JP" altLang="en-US" sz="1050">
                <a:latin typeface="BIZ UDPGothic" panose="020B0400000000000000" pitchFamily="34" charset="-128"/>
                <a:ea typeface="BIZ UDPGothic" panose="020B0400000000000000" pitchFamily="34" charset="-128"/>
              </a:rPr>
              <a:t>について、どのような</a:t>
            </a:r>
            <a:r>
              <a:rPr lang="ja-JP" altLang="en-US" sz="1050" b="1">
                <a:solidFill>
                  <a:srgbClr val="FF0000"/>
                </a:solidFill>
                <a:latin typeface="BIZ UDPGothic" panose="020B0400000000000000" pitchFamily="34" charset="-128"/>
                <a:ea typeface="BIZ UDPGothic" panose="020B0400000000000000" pitchFamily="34" charset="-128"/>
              </a:rPr>
              <a:t>課題</a:t>
            </a:r>
            <a:r>
              <a:rPr lang="ja-JP" altLang="en-US" sz="1050">
                <a:latin typeface="BIZ UDPGothic" panose="020B0400000000000000" pitchFamily="34" charset="-128"/>
                <a:ea typeface="BIZ UDPGothic" panose="020B0400000000000000" pitchFamily="34" charset="-128"/>
              </a:rPr>
              <a:t>や</a:t>
            </a:r>
            <a:r>
              <a:rPr lang="ja-JP" altLang="en-US" sz="1050" b="1">
                <a:solidFill>
                  <a:srgbClr val="FF0000"/>
                </a:solidFill>
                <a:latin typeface="BIZ UDPGothic" panose="020B0400000000000000" pitchFamily="34" charset="-128"/>
                <a:ea typeface="BIZ UDPGothic" panose="020B0400000000000000" pitchFamily="34" charset="-128"/>
              </a:rPr>
              <a:t>打ち手</a:t>
            </a:r>
            <a:r>
              <a:rPr lang="ja-JP" altLang="en-US" sz="1050">
                <a:latin typeface="BIZ UDPGothic" panose="020B0400000000000000" pitchFamily="34" charset="-128"/>
                <a:ea typeface="BIZ UDPGothic" panose="020B0400000000000000" pitchFamily="34" charset="-128"/>
              </a:rPr>
              <a:t>が考えられるか？」というフレームワークから、どこに真因課題がありそうかを検討しましょう。</a:t>
            </a:r>
            <a:br>
              <a:rPr lang="en-US" altLang="ja-JP" sz="1050">
                <a:latin typeface="BIZ UDPGothic" panose="020B0400000000000000" pitchFamily="34" charset="-128"/>
                <a:ea typeface="BIZ UDPGothic" panose="020B0400000000000000" pitchFamily="34" charset="-128"/>
              </a:rPr>
            </a:br>
            <a:r>
              <a:rPr lang="ja-JP" altLang="en-US" sz="1050">
                <a:latin typeface="BIZ UDPGothic" panose="020B0400000000000000" pitchFamily="34" charset="-128"/>
                <a:ea typeface="BIZ UDPGothic" panose="020B0400000000000000" pitchFamily="34" charset="-128"/>
              </a:rPr>
              <a:t>「</a:t>
            </a:r>
            <a:r>
              <a:rPr lang="ja-JP" altLang="en-US" sz="1050" b="1">
                <a:latin typeface="BIZ UDPGothic" panose="020B0400000000000000" pitchFamily="34" charset="-128"/>
                <a:ea typeface="BIZ UDPGothic" panose="020B0400000000000000" pitchFamily="34" charset="-128"/>
              </a:rPr>
              <a:t>そもそも</a:t>
            </a:r>
            <a:r>
              <a:rPr lang="ja-JP" altLang="en-US" sz="1050">
                <a:latin typeface="BIZ UDPGothic" panose="020B0400000000000000" pitchFamily="34" charset="-128"/>
                <a:ea typeface="BIZ UDPGothic" panose="020B0400000000000000" pitchFamily="34" charset="-128"/>
              </a:rPr>
              <a:t>、保管場所が良くない」のように、</a:t>
            </a:r>
            <a:r>
              <a:rPr lang="ja-JP" altLang="en-US" sz="1050">
                <a:solidFill>
                  <a:schemeClr val="accent1"/>
                </a:solidFill>
                <a:latin typeface="BIZ UDPGothic" panose="020B0400000000000000" pitchFamily="34" charset="-128"/>
                <a:ea typeface="BIZ UDPGothic" panose="020B0400000000000000" pitchFamily="34" charset="-128"/>
              </a:rPr>
              <a:t>「</a:t>
            </a:r>
            <a:r>
              <a:rPr lang="ja-JP" altLang="en-US" sz="1050" b="1">
                <a:solidFill>
                  <a:schemeClr val="accent1"/>
                </a:solidFill>
                <a:latin typeface="BIZ UDPGothic" panose="020B0400000000000000" pitchFamily="34" charset="-128"/>
                <a:ea typeface="BIZ UDPGothic" panose="020B0400000000000000" pitchFamily="34" charset="-128"/>
              </a:rPr>
              <a:t>そもそも、</a:t>
            </a:r>
            <a:r>
              <a:rPr lang="ja-JP" altLang="en-US" sz="1050">
                <a:solidFill>
                  <a:schemeClr val="accent1"/>
                </a:solidFill>
                <a:latin typeface="BIZ UDPGothic" panose="020B0400000000000000" pitchFamily="34" charset="-128"/>
                <a:ea typeface="BIZ UDPGothic" panose="020B0400000000000000" pitchFamily="34" charset="-128"/>
              </a:rPr>
              <a:t>◯◯」</a:t>
            </a:r>
            <a:r>
              <a:rPr lang="ja-JP" altLang="en-US" sz="1050">
                <a:latin typeface="BIZ UDPGothic" panose="020B0400000000000000" pitchFamily="34" charset="-128"/>
                <a:ea typeface="BIZ UDPGothic" panose="020B0400000000000000" pitchFamily="34" charset="-128"/>
              </a:rPr>
              <a:t>と考えると検討しやすくなります。真因課題と思うものを赤字にしてみましょう。</a:t>
            </a:r>
          </a:p>
        </p:txBody>
      </p:sp>
      <p:sp>
        <p:nvSpPr>
          <p:cNvPr id="7" name="テキスト ボックス 6">
            <a:extLst>
              <a:ext uri="{FF2B5EF4-FFF2-40B4-BE49-F238E27FC236}">
                <a16:creationId xmlns:a16="http://schemas.microsoft.com/office/drawing/2014/main" id="{D46632CF-CF36-D205-1629-910C9FCE17E5}"/>
              </a:ext>
            </a:extLst>
          </p:cNvPr>
          <p:cNvSpPr txBox="1"/>
          <p:nvPr/>
        </p:nvSpPr>
        <p:spPr>
          <a:xfrm>
            <a:off x="1079242" y="1170630"/>
            <a:ext cx="7052991" cy="284693"/>
          </a:xfrm>
          <a:prstGeom prst="rect">
            <a:avLst/>
          </a:prstGeom>
          <a:noFill/>
        </p:spPr>
        <p:txBody>
          <a:bodyPr wrap="square" lIns="68580" tIns="34290" rIns="68580" bIns="34290" rtlCol="0" anchor="t">
            <a:spAutoFit/>
          </a:bodyPr>
          <a:lstStyle/>
          <a:p>
            <a:pPr algn="ctr"/>
            <a:r>
              <a:rPr lang="ja-JP" altLang="en-US" sz="1400" b="1">
                <a:latin typeface="BIZ UDPGothic" panose="020B0400000000000000" pitchFamily="34" charset="-128"/>
                <a:ea typeface="BIZ UDPGothic" panose="020B0400000000000000" pitchFamily="34" charset="-128"/>
              </a:rPr>
              <a:t>◯◯という問題について、どのような真因課題（≒課題の根本）がありそうか？</a:t>
            </a:r>
            <a:r>
              <a:rPr kumimoji="0" lang="en-US" altLang="ja-JP" sz="1400" b="1"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 </a:t>
            </a:r>
            <a:endParaRPr lang="en-US" altLang="ja-JP" sz="1400" b="1">
              <a:latin typeface="BIZ UDPGothic" panose="020B0400000000000000" pitchFamily="34" charset="-128"/>
              <a:ea typeface="BIZ UDPGothic" panose="020B0400000000000000" pitchFamily="34" charset="-128"/>
            </a:endParaRPr>
          </a:p>
        </p:txBody>
      </p:sp>
      <p:sp>
        <p:nvSpPr>
          <p:cNvPr id="2" name="正方形/長方形 1">
            <a:extLst>
              <a:ext uri="{FF2B5EF4-FFF2-40B4-BE49-F238E27FC236}">
                <a16:creationId xmlns:a16="http://schemas.microsoft.com/office/drawing/2014/main" id="{8371B7C5-C525-3F01-C340-073D501EE2B2}"/>
              </a:ext>
            </a:extLst>
          </p:cNvPr>
          <p:cNvSpPr/>
          <p:nvPr/>
        </p:nvSpPr>
        <p:spPr>
          <a:xfrm>
            <a:off x="7984483" y="68581"/>
            <a:ext cx="1007739" cy="273845"/>
          </a:xfrm>
          <a:prstGeom prst="rect">
            <a:avLst/>
          </a:prstGeom>
          <a:solidFill>
            <a:schemeClr val="accent1">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ja-JP" altLang="en-US" sz="900" b="1">
                <a:latin typeface="BIZ UDPGothic" panose="020B0400000000000000" pitchFamily="34" charset="-128"/>
                <a:ea typeface="BIZ UDPGothic" panose="020B0400000000000000" pitchFamily="34" charset="-128"/>
              </a:rPr>
              <a:t>フレームワーク</a:t>
            </a:r>
          </a:p>
        </p:txBody>
      </p:sp>
    </p:spTree>
    <p:extLst>
      <p:ext uri="{BB962C8B-B14F-4D97-AF65-F5344CB8AC3E}">
        <p14:creationId xmlns:p14="http://schemas.microsoft.com/office/powerpoint/2010/main" val="1044353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998CE-583F-8174-6EFA-0868EE799A07}"/>
            </a:ext>
          </a:extLst>
        </p:cNvPr>
        <p:cNvGrpSpPr/>
        <p:nvPr/>
      </p:nvGrpSpPr>
      <p:grpSpPr>
        <a:xfrm>
          <a:off x="0" y="0"/>
          <a:ext cx="0" cy="0"/>
          <a:chOff x="0" y="0"/>
          <a:chExt cx="0" cy="0"/>
        </a:xfrm>
      </p:grpSpPr>
      <p:sp>
        <p:nvSpPr>
          <p:cNvPr id="4" name="字幕 3">
            <a:extLst>
              <a:ext uri="{FF2B5EF4-FFF2-40B4-BE49-F238E27FC236}">
                <a16:creationId xmlns:a16="http://schemas.microsoft.com/office/drawing/2014/main" id="{8F97C18E-FCF8-A248-7B10-552DBAB4815D}"/>
              </a:ext>
            </a:extLst>
          </p:cNvPr>
          <p:cNvSpPr>
            <a:spLocks noGrp="1"/>
          </p:cNvSpPr>
          <p:nvPr>
            <p:ph type="subTitle" idx="1"/>
          </p:nvPr>
        </p:nvSpPr>
        <p:spPr/>
        <p:txBody>
          <a:bodyPr/>
          <a:lstStyle/>
          <a:p>
            <a:r>
              <a:rPr lang="ja-JP" altLang="ja-JP" sz="1800" b="0" i="0" u="none" strike="noStrike">
                <a:solidFill>
                  <a:srgbClr val="000000"/>
                </a:solidFill>
                <a:effectLst/>
                <a:ea typeface="BIZ UDPGothic" panose="020B0400000000000000" pitchFamily="50" charset="-128"/>
              </a:rPr>
              <a:t>おすすめの</a:t>
            </a:r>
            <a:r>
              <a:rPr lang="en-US" altLang="ja-JP" sz="1800" b="0" i="0" u="none" strike="noStrike">
                <a:solidFill>
                  <a:srgbClr val="000000"/>
                </a:solidFill>
                <a:effectLst/>
                <a:ea typeface="BIZ UDPGothic" panose="020B0400000000000000" pitchFamily="50" charset="-128"/>
              </a:rPr>
              <a:t>Web</a:t>
            </a:r>
            <a:r>
              <a:rPr lang="ja-JP" altLang="en-US" sz="1800" b="0" i="0" u="none" strike="noStrike">
                <a:solidFill>
                  <a:srgbClr val="000000"/>
                </a:solidFill>
                <a:effectLst/>
                <a:ea typeface="BIZ UDPGothic" panose="020B0400000000000000" pitchFamily="50" charset="-128"/>
              </a:rPr>
              <a:t>サービス</a:t>
            </a:r>
            <a:endParaRPr lang="ja-JP" altLang="en-US" kern="0">
              <a:latin typeface="BIZ UDPGothic" panose="020B0400000000000000" pitchFamily="34" charset="-128"/>
              <a:ea typeface="BIZ UDPGothic" panose="020B0400000000000000" pitchFamily="34" charset="-128"/>
              <a:cs typeface="Arial" pitchFamily="34" charset="0"/>
            </a:endParaRPr>
          </a:p>
        </p:txBody>
      </p:sp>
      <p:sp>
        <p:nvSpPr>
          <p:cNvPr id="5" name="スライド番号プレースホルダー 1">
            <a:extLst>
              <a:ext uri="{FF2B5EF4-FFF2-40B4-BE49-F238E27FC236}">
                <a16:creationId xmlns:a16="http://schemas.microsoft.com/office/drawing/2014/main" id="{626C0B1B-C31A-964C-10FB-2210C537A4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3</a:t>
            </a:fld>
            <a:endParaRPr kumimoji="1" lang="ja-JP" altLang="en-US"/>
          </a:p>
        </p:txBody>
      </p:sp>
      <p:grpSp>
        <p:nvGrpSpPr>
          <p:cNvPr id="37" name="グループ化 36">
            <a:extLst>
              <a:ext uri="{FF2B5EF4-FFF2-40B4-BE49-F238E27FC236}">
                <a16:creationId xmlns:a16="http://schemas.microsoft.com/office/drawing/2014/main" id="{EADDC3B5-0BB5-5DCF-FDC4-A4EB917084EE}"/>
              </a:ext>
            </a:extLst>
          </p:cNvPr>
          <p:cNvGrpSpPr/>
          <p:nvPr/>
        </p:nvGrpSpPr>
        <p:grpSpPr>
          <a:xfrm>
            <a:off x="353498" y="1172338"/>
            <a:ext cx="4214051" cy="3369359"/>
            <a:chOff x="274129" y="894040"/>
            <a:chExt cx="4214051" cy="3369359"/>
          </a:xfrm>
        </p:grpSpPr>
        <p:sp>
          <p:nvSpPr>
            <p:cNvPr id="2" name="テキスト ボックス 1">
              <a:extLst>
                <a:ext uri="{FF2B5EF4-FFF2-40B4-BE49-F238E27FC236}">
                  <a16:creationId xmlns:a16="http://schemas.microsoft.com/office/drawing/2014/main" id="{32E6C676-E60B-5DE1-671D-73C9BD697368}"/>
                </a:ext>
              </a:extLst>
            </p:cNvPr>
            <p:cNvSpPr txBox="1"/>
            <p:nvPr/>
          </p:nvSpPr>
          <p:spPr>
            <a:xfrm>
              <a:off x="274129" y="1370299"/>
              <a:ext cx="4214051" cy="2893100"/>
            </a:xfrm>
            <a:prstGeom prst="rect">
              <a:avLst/>
            </a:prstGeom>
            <a:noFill/>
          </p:spPr>
          <p:txBody>
            <a:bodyPr wrap="square" lIns="91440" tIns="45720" rIns="91440" bIns="45720" rtlCol="0" anchor="t">
              <a:spAutoFit/>
            </a:bodyPr>
            <a:lstStyle/>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400" b="1" err="1">
                  <a:solidFill>
                    <a:prstClr val="black"/>
                  </a:solidFill>
                  <a:latin typeface="BIZ UDPゴシック" panose="020B0400000000000000" pitchFamily="50" charset="-128"/>
                  <a:ea typeface="BIZ UDPゴシック" panose="020B0400000000000000" pitchFamily="50" charset="-128"/>
                </a:rPr>
                <a:t>MindMeister</a:t>
              </a:r>
              <a:r>
                <a:rPr kumimoji="0" lang="ja-JP" altLang="en-US" sz="1400" b="1">
                  <a:solidFill>
                    <a:prstClr val="black"/>
                  </a:solidFill>
                  <a:latin typeface="BIZ UDPゴシック" panose="020B0400000000000000" pitchFamily="50" charset="-128"/>
                  <a:ea typeface="BIZ UDPゴシック" panose="020B0400000000000000" pitchFamily="50" charset="-128"/>
                </a:rPr>
                <a:t> ： </a:t>
              </a:r>
              <a:r>
                <a:rPr kumimoji="0" lang="en-US" altLang="ja-JP" sz="1400">
                  <a:solidFill>
                    <a:prstClr val="black"/>
                  </a:solidFill>
                  <a:latin typeface="BIZ UDPゴシック" panose="020B0400000000000000" pitchFamily="50" charset="-128"/>
                  <a:ea typeface="BIZ UDPゴシック" panose="020B0400000000000000" pitchFamily="50" charset="-128"/>
                  <a:hlinkClick r:id="rId2"/>
                </a:rPr>
                <a:t>https://mindmeister.jp/</a:t>
              </a:r>
              <a:r>
                <a:rPr kumimoji="0" lang="ja-JP" altLang="en-US" sz="1400">
                  <a:solidFill>
                    <a:prstClr val="black"/>
                  </a:solidFill>
                  <a:latin typeface="BIZ UDPゴシック" panose="020B0400000000000000" pitchFamily="50" charset="-128"/>
                  <a:ea typeface="BIZ UDPゴシック" panose="020B0400000000000000" pitchFamily="50" charset="-128"/>
                </a:rPr>
                <a:t>　</a:t>
              </a:r>
              <a:endParaRPr kumimoji="0" lang="en-US" altLang="ja-JP" sz="1400">
                <a:solidFill>
                  <a:prstClr val="black"/>
                </a:solidFill>
                <a:latin typeface="BIZ UDPゴシック" panose="020B0400000000000000" pitchFamily="50" charset="-128"/>
                <a:ea typeface="BIZ UDPゴシック" panose="020B0400000000000000" pitchFamily="50" charset="-128"/>
              </a:endParaRPr>
            </a:p>
          </p:txBody>
        </p:sp>
        <p:pic>
          <p:nvPicPr>
            <p:cNvPr id="1030" name="Picture 6" descr="公式】MindMeister（マインドマイスター）3700万ユーザーの無料マインドマップ">
              <a:extLst>
                <a:ext uri="{FF2B5EF4-FFF2-40B4-BE49-F238E27FC236}">
                  <a16:creationId xmlns:a16="http://schemas.microsoft.com/office/drawing/2014/main" id="{3F60EDA7-D479-F59E-A76E-02F090574E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162" t="20423" r="15852" b="22335"/>
            <a:stretch/>
          </p:blipFill>
          <p:spPr bwMode="auto">
            <a:xfrm>
              <a:off x="277842" y="894040"/>
              <a:ext cx="2225231" cy="103296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indMeisterとは？ | 機能や料金、導入事例をご紹介【キャプテラ】">
              <a:extLst>
                <a:ext uri="{FF2B5EF4-FFF2-40B4-BE49-F238E27FC236}">
                  <a16:creationId xmlns:a16="http://schemas.microsoft.com/office/drawing/2014/main" id="{BB6820BB-6EAE-23FD-78E4-6ACBA8CD56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453" y="1923594"/>
              <a:ext cx="3311402" cy="1871662"/>
            </a:xfrm>
            <a:prstGeom prst="rect">
              <a:avLst/>
            </a:prstGeom>
            <a:noFill/>
            <a:extLst>
              <a:ext uri="{909E8E84-426E-40DD-AFC4-6F175D3DCCD1}">
                <a14:hiddenFill xmlns:a14="http://schemas.microsoft.com/office/drawing/2010/main">
                  <a:solidFill>
                    <a:srgbClr val="FFFFFF"/>
                  </a:solidFill>
                </a14:hiddenFill>
              </a:ext>
            </a:extLst>
          </p:spPr>
        </p:pic>
      </p:grpSp>
      <p:pic>
        <p:nvPicPr>
          <p:cNvPr id="1028" name="Picture 4" descr="ミロがシリーズC資金調達ラウンドで4億ドルを調達し、新たなハイブリッド職場でのビジュアル・コラボレーションによる革新を加速 | Business  Wire">
            <a:extLst>
              <a:ext uri="{FF2B5EF4-FFF2-40B4-BE49-F238E27FC236}">
                <a16:creationId xmlns:a16="http://schemas.microsoft.com/office/drawing/2014/main" id="{E8E91E4C-5A87-8735-E67A-F6ECF3ACBA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1893" y="1139083"/>
            <a:ext cx="2171070" cy="1085535"/>
          </a:xfrm>
          <a:prstGeom prst="rect">
            <a:avLst/>
          </a:prstGeom>
          <a:noFill/>
          <a:extLst>
            <a:ext uri="{909E8E84-426E-40DD-AFC4-6F175D3DCCD1}">
              <a14:hiddenFill xmlns:a14="http://schemas.microsoft.com/office/drawing/2010/main">
                <a:solidFill>
                  <a:srgbClr val="FFFFFF"/>
                </a:solidFill>
              </a14:hiddenFill>
            </a:ext>
          </a:extLst>
        </p:spPr>
      </p:pic>
      <p:sp>
        <p:nvSpPr>
          <p:cNvPr id="29" name="テキスト ボックス 28">
            <a:extLst>
              <a:ext uri="{FF2B5EF4-FFF2-40B4-BE49-F238E27FC236}">
                <a16:creationId xmlns:a16="http://schemas.microsoft.com/office/drawing/2014/main" id="{FF11E904-196E-CD52-9E25-2236B1D0B955}"/>
              </a:ext>
            </a:extLst>
          </p:cNvPr>
          <p:cNvSpPr txBox="1"/>
          <p:nvPr/>
        </p:nvSpPr>
        <p:spPr>
          <a:xfrm>
            <a:off x="4491893" y="1681851"/>
            <a:ext cx="4214051" cy="2893100"/>
          </a:xfrm>
          <a:prstGeom prst="rect">
            <a:avLst/>
          </a:prstGeom>
          <a:noFill/>
        </p:spPr>
        <p:txBody>
          <a:bodyPr wrap="square" lIns="91440" tIns="45720" rIns="91440" bIns="45720" rtlCol="0" anchor="t">
            <a:spAutoFit/>
          </a:bodyPr>
          <a:lstStyle/>
          <a:p>
            <a:pPr defTabSz="457200"/>
            <a:r>
              <a:rPr kumimoji="0" lang="ja-JP" altLang="en-US" sz="1400" b="1">
                <a:solidFill>
                  <a:prstClr val="black"/>
                </a:solidFill>
                <a:latin typeface="BIZ UDPゴシック" panose="020B0400000000000000" pitchFamily="50" charset="-128"/>
                <a:ea typeface="BIZ UDPゴシック" panose="020B0400000000000000" pitchFamily="50" charset="-128"/>
              </a:rPr>
              <a:t>　　</a:t>
            </a:r>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400" b="1">
                <a:solidFill>
                  <a:prstClr val="black"/>
                </a:solidFill>
                <a:latin typeface="BIZ UDPゴシック" panose="020B0400000000000000" pitchFamily="50" charset="-128"/>
                <a:ea typeface="BIZ UDPゴシック" panose="020B0400000000000000" pitchFamily="50" charset="-128"/>
              </a:rPr>
              <a:t>Miro </a:t>
            </a:r>
            <a:r>
              <a:rPr kumimoji="0" lang="ja-JP" altLang="en-US" sz="1400" b="1">
                <a:solidFill>
                  <a:prstClr val="black"/>
                </a:solidFill>
                <a:latin typeface="BIZ UDPゴシック" panose="020B0400000000000000" pitchFamily="50" charset="-128"/>
                <a:ea typeface="BIZ UDPゴシック" panose="020B0400000000000000" pitchFamily="50" charset="-128"/>
              </a:rPr>
              <a:t>： </a:t>
            </a:r>
            <a:r>
              <a:rPr kumimoji="0" lang="en-US" altLang="ja-JP" sz="1400">
                <a:solidFill>
                  <a:prstClr val="black"/>
                </a:solidFill>
                <a:latin typeface="BIZ UDPゴシック" panose="020B0400000000000000" pitchFamily="50" charset="-128"/>
                <a:ea typeface="BIZ UDPゴシック" panose="020B0400000000000000" pitchFamily="50" charset="-128"/>
                <a:hlinkClick r:id="rId6"/>
              </a:rPr>
              <a:t>https://miro.com/ja/</a:t>
            </a:r>
            <a:r>
              <a:rPr kumimoji="0" lang="en-US" altLang="ja-JP" sz="1400">
                <a:solidFill>
                  <a:prstClr val="black"/>
                </a:solidFill>
                <a:latin typeface="BIZ UDPゴシック" panose="020B0400000000000000" pitchFamily="50" charset="-128"/>
                <a:ea typeface="BIZ UDPゴシック" panose="020B0400000000000000" pitchFamily="50" charset="-128"/>
              </a:rPr>
              <a:t> </a:t>
            </a:r>
          </a:p>
        </p:txBody>
      </p:sp>
      <p:pic>
        <p:nvPicPr>
          <p:cNvPr id="1034" name="Picture 10" descr="ロジックツリー作成ツール【書き方と無料テンプレート付き】- Miro">
            <a:extLst>
              <a:ext uri="{FF2B5EF4-FFF2-40B4-BE49-F238E27FC236}">
                <a16:creationId xmlns:a16="http://schemas.microsoft.com/office/drawing/2014/main" id="{7E1B7950-70EA-0D03-6152-7BE0FC09713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3308"/>
          <a:stretch/>
        </p:blipFill>
        <p:spPr bwMode="auto">
          <a:xfrm>
            <a:off x="4951028" y="2341758"/>
            <a:ext cx="2887026" cy="1658437"/>
          </a:xfrm>
          <a:prstGeom prst="rect">
            <a:avLst/>
          </a:prstGeom>
          <a:noFill/>
          <a:extLst>
            <a:ext uri="{909E8E84-426E-40DD-AFC4-6F175D3DCCD1}">
              <a14:hiddenFill xmlns:a14="http://schemas.microsoft.com/office/drawing/2010/main">
                <a:solidFill>
                  <a:srgbClr val="FFFFFF"/>
                </a:solidFill>
              </a14:hiddenFill>
            </a:ext>
          </a:extLst>
        </p:spPr>
      </p:pic>
      <p:sp>
        <p:nvSpPr>
          <p:cNvPr id="3" name="コンテンツ プレースホルダー 3">
            <a:extLst>
              <a:ext uri="{FF2B5EF4-FFF2-40B4-BE49-F238E27FC236}">
                <a16:creationId xmlns:a16="http://schemas.microsoft.com/office/drawing/2014/main" id="{433F7D91-AB9D-A950-5E89-6CD50829BCD5}"/>
              </a:ext>
            </a:extLst>
          </p:cNvPr>
          <p:cNvSpPr>
            <a:spLocks noGrp="1"/>
          </p:cNvSpPr>
          <p:nvPr>
            <p:ph idx="13"/>
          </p:nvPr>
        </p:nvSpPr>
        <p:spPr>
          <a:xfrm>
            <a:off x="141600" y="537124"/>
            <a:ext cx="8851900" cy="499233"/>
          </a:xfrm>
        </p:spPr>
        <p:txBody>
          <a:bodyPr/>
          <a:lstStyle/>
          <a:p>
            <a:r>
              <a:rPr lang="ja-JP" altLang="en-US" sz="1050">
                <a:latin typeface="BIZ UDPGothic" panose="020B0400000000000000" pitchFamily="34" charset="-128"/>
                <a:ea typeface="BIZ UDPGothic" panose="020B0400000000000000" pitchFamily="34" charset="-128"/>
              </a:rPr>
              <a:t>真因課題を検討するにあり、複数の課題に対し、より多くの課題仮説を検討する際には、以下の無料ツールの利用もおすすめです！</a:t>
            </a:r>
            <a:br>
              <a:rPr lang="en-US" altLang="ja-JP" sz="1050">
                <a:latin typeface="BIZ UDPGothic" panose="020B0400000000000000" pitchFamily="34" charset="-128"/>
                <a:ea typeface="BIZ UDPGothic" panose="020B0400000000000000" pitchFamily="34" charset="-128"/>
              </a:rPr>
            </a:br>
            <a:r>
              <a:rPr lang="ja-JP" altLang="en-US" sz="1050">
                <a:latin typeface="BIZ UDPGothic" panose="020B0400000000000000" pitchFamily="34" charset="-128"/>
                <a:ea typeface="BIZ UDPGothic" panose="020B0400000000000000" pitchFamily="34" charset="-128"/>
              </a:rPr>
              <a:t>アカウント共有もできるのでチーム間のアイデア共有にも活用できます。メンターにアイデア共有する際にも活用ください。</a:t>
            </a:r>
          </a:p>
        </p:txBody>
      </p:sp>
    </p:spTree>
    <p:extLst>
      <p:ext uri="{BB962C8B-B14F-4D97-AF65-F5344CB8AC3E}">
        <p14:creationId xmlns:p14="http://schemas.microsoft.com/office/powerpoint/2010/main" val="2051184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Gqui4AMx.Oso.aqUejg"/>
</p:tagLst>
</file>

<file path=ppt/theme/theme1.xml><?xml version="1.0" encoding="utf-8"?>
<a:theme xmlns:a="http://schemas.openxmlformats.org/drawingml/2006/main" name="1_ホワイト">
  <a:themeElements>
    <a:clrScheme name="ユーザー定義 3">
      <a:dk1>
        <a:srgbClr val="000000"/>
      </a:dk1>
      <a:lt1>
        <a:srgbClr val="FFFFFF"/>
      </a:lt1>
      <a:dk2>
        <a:srgbClr val="44546A"/>
      </a:dk2>
      <a:lt2>
        <a:srgbClr val="E7E6E6"/>
      </a:lt2>
      <a:accent1>
        <a:srgbClr val="FF2600"/>
      </a:accent1>
      <a:accent2>
        <a:srgbClr val="0432FF"/>
      </a:accent2>
      <a:accent3>
        <a:srgbClr val="008F51"/>
      </a:accent3>
      <a:accent4>
        <a:srgbClr val="000000"/>
      </a:accent4>
      <a:accent5>
        <a:srgbClr val="000000"/>
      </a:accent5>
      <a:accent6>
        <a:srgbClr val="000000"/>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tx1"/>
          </a:solidFill>
        </a:ln>
      </a:spPr>
      <a:bodyPr vert="horz" lIns="91440" tIns="45720" rIns="91440" bIns="45720" rtlCol="0" anchor="ctr">
        <a:noAutofit/>
      </a:bodyPr>
      <a:lstStyle>
        <a:defPPr algn="ctr" defTabSz="685800">
          <a:spcBef>
            <a:spcPts val="300"/>
          </a:spcBef>
          <a:defRPr kumimoji="1" sz="1200" smtClean="0">
            <a:solidFill>
              <a:schemeClr val="tx1"/>
            </a:solidFill>
            <a:ea typeface="BIZ UDPゴシック" panose="020B0400000000000000" pitchFamily="50" charset="-128"/>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中部電力_家庭向けIoTサービス事業立上支援 第6回_20190809" id="{032199E3-1FA1-D345-925B-6A743F8498DA}" vid="{53365D3B-FB21-E04A-B718-524FCB1B28E0}"/>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912F679C5528E4599EF678F50E795BE" ma:contentTypeVersion="18" ma:contentTypeDescription="新しいドキュメントを作成します。" ma:contentTypeScope="" ma:versionID="9bfa133430c9debe06e42c84c8694de2">
  <xsd:schema xmlns:xsd="http://www.w3.org/2001/XMLSchema" xmlns:xs="http://www.w3.org/2001/XMLSchema" xmlns:p="http://schemas.microsoft.com/office/2006/metadata/properties" xmlns:ns2="5df5b41b-3111-49ff-bda5-723140f97c57" xmlns:ns3="5349a56a-7aea-4672-839e-a6f0d3374da0" targetNamespace="http://schemas.microsoft.com/office/2006/metadata/properties" ma:root="true" ma:fieldsID="3dc42d6abc9e202371a0984028e306ad" ns2:_="" ns3:_="">
    <xsd:import namespace="5df5b41b-3111-49ff-bda5-723140f97c57"/>
    <xsd:import namespace="5349a56a-7aea-4672-839e-a6f0d3374d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f5b41b-3111-49ff-bda5-723140f97c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85761048-70d9-44e6-be2f-b077a31168c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49a56a-7aea-4672-839e-a6f0d3374da0"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b64cbe9-efc8-49f9-9474-e45651716971}" ma:internalName="TaxCatchAll" ma:showField="CatchAllData" ma:web="5349a56a-7aea-4672-839e-a6f0d3374da0">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df5b41b-3111-49ff-bda5-723140f97c57">
      <Terms xmlns="http://schemas.microsoft.com/office/infopath/2007/PartnerControls"/>
    </lcf76f155ced4ddcb4097134ff3c332f>
    <TaxCatchAll xmlns="5349a56a-7aea-4672-839e-a6f0d3374da0" xsi:nil="true"/>
  </documentManagement>
</p:properties>
</file>

<file path=customXml/itemProps1.xml><?xml version="1.0" encoding="utf-8"?>
<ds:datastoreItem xmlns:ds="http://schemas.openxmlformats.org/officeDocument/2006/customXml" ds:itemID="{A772AD8E-1208-45D4-B335-58AA23804362}">
  <ds:schemaRefs>
    <ds:schemaRef ds:uri="5349a56a-7aea-4672-839e-a6f0d3374da0"/>
    <ds:schemaRef ds:uri="5df5b41b-3111-49ff-bda5-723140f97c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FE01764-9A85-41EF-8531-4E64137AB9DC}">
  <ds:schemaRefs>
    <ds:schemaRef ds:uri="http://schemas.microsoft.com/sharepoint/v3/contenttype/forms"/>
  </ds:schemaRefs>
</ds:datastoreItem>
</file>

<file path=customXml/itemProps3.xml><?xml version="1.0" encoding="utf-8"?>
<ds:datastoreItem xmlns:ds="http://schemas.openxmlformats.org/officeDocument/2006/customXml" ds:itemID="{BE9B8D7D-F21C-4B6F-8E94-0287D9DA0B29}">
  <ds:schemaRefs>
    <ds:schemaRef ds:uri="http://schemas.microsoft.com/office/2006/metadata/properties"/>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purl.org/dc/terms/"/>
    <ds:schemaRef ds:uri="http://purl.org/dc/elements/1.1/"/>
    <ds:schemaRef ds:uri="5349a56a-7aea-4672-839e-a6f0d3374da0"/>
    <ds:schemaRef ds:uri="5df5b41b-3111-49ff-bda5-723140f97c5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511</Words>
  <Application>Microsoft Macintosh PowerPoint</Application>
  <PresentationFormat>画面に合わせる (16:9)</PresentationFormat>
  <Paragraphs>63</Paragraphs>
  <Slides>5</Slides>
  <Notes>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2</vt:i4>
      </vt:variant>
      <vt:variant>
        <vt:lpstr>スライド タイトル</vt:lpstr>
      </vt:variant>
      <vt:variant>
        <vt:i4>5</vt:i4>
      </vt:variant>
    </vt:vector>
  </HeadingPairs>
  <TitlesOfParts>
    <vt:vector size="17" baseType="lpstr">
      <vt:lpstr>BIZ UDPGothic</vt:lpstr>
      <vt:lpstr>BIZ UDPGothic</vt:lpstr>
      <vt:lpstr>HGSｺﾞｼｯｸM</vt:lpstr>
      <vt:lpstr>Hiragino Sans W4</vt:lpstr>
      <vt:lpstr>Yu Gothic</vt:lpstr>
      <vt:lpstr>Arial</vt:lpstr>
      <vt:lpstr>Calibri</vt:lpstr>
      <vt:lpstr>Wingdings</vt:lpstr>
      <vt:lpstr>1_ホワイト</vt:lpstr>
      <vt:lpstr>5_ホワイト</vt:lpstr>
      <vt:lpstr>think-cell Slid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メインタイトルメインタイトル</dc:title>
  <dc:creator>Microsoft Office ユーザー</dc:creator>
  <cp:lastModifiedBy>元崎 直美</cp:lastModifiedBy>
  <cp:revision>1</cp:revision>
  <dcterms:created xsi:type="dcterms:W3CDTF">2017-08-07T14:21:33Z</dcterms:created>
  <dcterms:modified xsi:type="dcterms:W3CDTF">2025-01-24T02: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12F679C5528E4599EF678F50E795BE</vt:lpwstr>
  </property>
  <property fmtid="{D5CDD505-2E9C-101B-9397-08002B2CF9AE}" pid="3" name="MediaServiceImageTags">
    <vt:lpwstr/>
  </property>
</Properties>
</file>